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396" r:id="rId5"/>
    <p:sldId id="459" r:id="rId6"/>
    <p:sldId id="567" r:id="rId7"/>
    <p:sldId id="578" r:id="rId8"/>
    <p:sldId id="568" r:id="rId9"/>
    <p:sldId id="572" r:id="rId10"/>
    <p:sldId id="579" r:id="rId11"/>
    <p:sldId id="574" r:id="rId12"/>
    <p:sldId id="569" r:id="rId13"/>
    <p:sldId id="570" r:id="rId14"/>
    <p:sldId id="575" r:id="rId15"/>
    <p:sldId id="580" r:id="rId16"/>
    <p:sldId id="426" r:id="rId17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WES Institute presentation" id="{B876642A-CAE4-49D5-8EEE-113F5705A5F2}">
          <p14:sldIdLst>
            <p14:sldId id="396"/>
          </p14:sldIdLst>
        </p14:section>
        <p14:section name="Selection of optional slides" id="{7C15E6B1-89C8-4AC6-A54C-AADED3436C0D}">
          <p14:sldIdLst>
            <p14:sldId id="459"/>
            <p14:sldId id="567"/>
            <p14:sldId id="578"/>
            <p14:sldId id="568"/>
            <p14:sldId id="572"/>
            <p14:sldId id="579"/>
            <p14:sldId id="574"/>
            <p14:sldId id="569"/>
            <p14:sldId id="570"/>
            <p14:sldId id="575"/>
            <p14:sldId id="580"/>
            <p14:sldId id="4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7491" userDrawn="1">
          <p15:clr>
            <a:srgbClr val="A4A3A4"/>
          </p15:clr>
        </p15:guide>
        <p15:guide id="3" pos="6063" userDrawn="1">
          <p15:clr>
            <a:srgbClr val="A4A3A4"/>
          </p15:clr>
        </p15:guide>
        <p15:guide id="5" orient="horz" pos="2455" userDrawn="1">
          <p15:clr>
            <a:srgbClr val="A4A3A4"/>
          </p15:clr>
        </p15:guide>
        <p15:guide id="6" pos="1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024A7BB-2072-6979-5CB5-3459B93B4510}" name="Reis, Guilherme" initials="RG" userId="S::guilherme.reis@iwes.fraunhofer.de::c94ddd04-2f9e-416d-8540-ca621e33f06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9C7D"/>
    <a:srgbClr val="842D3E"/>
    <a:srgbClr val="21295F"/>
    <a:srgbClr val="B0B7E5"/>
    <a:srgbClr val="E19AA8"/>
    <a:srgbClr val="008598"/>
    <a:srgbClr val="39C1CD"/>
    <a:srgbClr val="A6BBC8"/>
    <a:srgbClr val="B2D235"/>
    <a:srgbClr val="E5EE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46638-4DC7-47D9-90C8-561F948350CE}" v="382" dt="2025-08-12T08:26:04.211"/>
  </p1510:revLst>
</p1510:revInfo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>
        <p:guide orient="horz" pos="3657"/>
        <p:guide pos="7491"/>
        <p:guide pos="6063"/>
        <p:guide orient="horz" pos="2455"/>
        <p:guide pos="1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chimuthu, Deepak" userId="S::deepak.petchimuthu@iwes.fraunhofer.de::6f208555-eba7-40e3-86ed-994763cf54a8" providerId="AD" clId="Web-{471F754E-4BB5-7825-1386-D0F08AD00A11}"/>
    <pc:docChg chg="addSld delSld modSld sldOrd modSection">
      <pc:chgData name="Petchimuthu, Deepak" userId="S::deepak.petchimuthu@iwes.fraunhofer.de::6f208555-eba7-40e3-86ed-994763cf54a8" providerId="AD" clId="Web-{471F754E-4BB5-7825-1386-D0F08AD00A11}" dt="2025-08-10T10:44:27.878" v="76" actId="20577"/>
      <pc:docMkLst>
        <pc:docMk/>
      </pc:docMkLst>
      <pc:sldChg chg="modSp">
        <pc:chgData name="Petchimuthu, Deepak" userId="S::deepak.petchimuthu@iwes.fraunhofer.de::6f208555-eba7-40e3-86ed-994763cf54a8" providerId="AD" clId="Web-{471F754E-4BB5-7825-1386-D0F08AD00A11}" dt="2025-08-10T10:24:17.606" v="4" actId="20577"/>
        <pc:sldMkLst>
          <pc:docMk/>
          <pc:sldMk cId="2940013499" sldId="396"/>
        </pc:sldMkLst>
        <pc:spChg chg="mod">
          <ac:chgData name="Petchimuthu, Deepak" userId="S::deepak.petchimuthu@iwes.fraunhofer.de::6f208555-eba7-40e3-86ed-994763cf54a8" providerId="AD" clId="Web-{471F754E-4BB5-7825-1386-D0F08AD00A11}" dt="2025-08-10T10:24:17.606" v="4" actId="20577"/>
          <ac:spMkLst>
            <pc:docMk/>
            <pc:sldMk cId="2940013499" sldId="396"/>
            <ac:spMk id="12" creationId="{E531AF8A-14E7-430E-824A-8997D8C57258}"/>
          </ac:spMkLst>
        </pc:spChg>
      </pc:sldChg>
      <pc:sldChg chg="modSp">
        <pc:chgData name="Petchimuthu, Deepak" userId="S::deepak.petchimuthu@iwes.fraunhofer.de::6f208555-eba7-40e3-86ed-994763cf54a8" providerId="AD" clId="Web-{471F754E-4BB5-7825-1386-D0F08AD00A11}" dt="2025-08-10T10:30:25.753" v="23" actId="1076"/>
        <pc:sldMkLst>
          <pc:docMk/>
          <pc:sldMk cId="2662964487" sldId="567"/>
        </pc:sldMkLst>
        <pc:spChg chg="mod">
          <ac:chgData name="Petchimuthu, Deepak" userId="S::deepak.petchimuthu@iwes.fraunhofer.de::6f208555-eba7-40e3-86ed-994763cf54a8" providerId="AD" clId="Web-{471F754E-4BB5-7825-1386-D0F08AD00A11}" dt="2025-08-10T10:22:02.808" v="0" actId="14100"/>
          <ac:spMkLst>
            <pc:docMk/>
            <pc:sldMk cId="2662964487" sldId="567"/>
            <ac:spMk id="5" creationId="{8A8FCD50-8245-8281-98BE-7EBC81F8754A}"/>
          </ac:spMkLst>
        </pc:spChg>
        <pc:picChg chg="mod">
          <ac:chgData name="Petchimuthu, Deepak" userId="S::deepak.petchimuthu@iwes.fraunhofer.de::6f208555-eba7-40e3-86ed-994763cf54a8" providerId="AD" clId="Web-{471F754E-4BB5-7825-1386-D0F08AD00A11}" dt="2025-08-10T10:30:25.753" v="23" actId="1076"/>
          <ac:picMkLst>
            <pc:docMk/>
            <pc:sldMk cId="2662964487" sldId="567"/>
            <ac:picMk id="6" creationId="{B1AC4410-96C1-26E1-04F3-195B31350FAE}"/>
          </ac:picMkLst>
        </pc:picChg>
      </pc:sldChg>
      <pc:sldChg chg="addSp delSp modSp mod setBg modClrScheme setClrOvrMap chgLayout">
        <pc:chgData name="Petchimuthu, Deepak" userId="S::deepak.petchimuthu@iwes.fraunhofer.de::6f208555-eba7-40e3-86ed-994763cf54a8" providerId="AD" clId="Web-{471F754E-4BB5-7825-1386-D0F08AD00A11}" dt="2025-08-10T10:44:27.878" v="76" actId="20577"/>
        <pc:sldMkLst>
          <pc:docMk/>
          <pc:sldMk cId="1179350309" sldId="568"/>
        </pc:sldMkLst>
        <pc:spChg chg="mod">
          <ac:chgData name="Petchimuthu, Deepak" userId="S::deepak.petchimuthu@iwes.fraunhofer.de::6f208555-eba7-40e3-86ed-994763cf54a8" providerId="AD" clId="Web-{471F754E-4BB5-7825-1386-D0F08AD00A11}" dt="2025-08-10T10:25:48.326" v="7"/>
          <ac:spMkLst>
            <pc:docMk/>
            <pc:sldMk cId="1179350309" sldId="568"/>
            <ac:spMk id="2" creationId="{AD74521E-4568-56B3-572F-B1CF801FB325}"/>
          </ac:spMkLst>
        </pc:spChg>
        <pc:spChg chg="mod">
          <ac:chgData name="Petchimuthu, Deepak" userId="S::deepak.petchimuthu@iwes.fraunhofer.de::6f208555-eba7-40e3-86ed-994763cf54a8" providerId="AD" clId="Web-{471F754E-4BB5-7825-1386-D0F08AD00A11}" dt="2025-08-10T10:25:48.326" v="7"/>
          <ac:spMkLst>
            <pc:docMk/>
            <pc:sldMk cId="1179350309" sldId="568"/>
            <ac:spMk id="3" creationId="{67665313-6274-3EEF-E1D4-A71C7240AD9D}"/>
          </ac:spMkLst>
        </pc:spChg>
        <pc:spChg chg="mod">
          <ac:chgData name="Petchimuthu, Deepak" userId="S::deepak.petchimuthu@iwes.fraunhofer.de::6f208555-eba7-40e3-86ed-994763cf54a8" providerId="AD" clId="Web-{471F754E-4BB5-7825-1386-D0F08AD00A11}" dt="2025-08-10T10:25:48.326" v="7"/>
          <ac:spMkLst>
            <pc:docMk/>
            <pc:sldMk cId="1179350309" sldId="568"/>
            <ac:spMk id="4" creationId="{E5DE6FC0-09B3-5E66-3B16-A0C148E0E73C}"/>
          </ac:spMkLst>
        </pc:spChg>
        <pc:spChg chg="mod ord">
          <ac:chgData name="Petchimuthu, Deepak" userId="S::deepak.petchimuthu@iwes.fraunhofer.de::6f208555-eba7-40e3-86ed-994763cf54a8" providerId="AD" clId="Web-{471F754E-4BB5-7825-1386-D0F08AD00A11}" dt="2025-08-10T10:25:48.326" v="7"/>
          <ac:spMkLst>
            <pc:docMk/>
            <pc:sldMk cId="1179350309" sldId="568"/>
            <ac:spMk id="7" creationId="{A24C95F7-53CC-8B74-91DF-3C3F30BCADEE}"/>
          </ac:spMkLst>
        </pc:spChg>
        <pc:spChg chg="mod">
          <ac:chgData name="Petchimuthu, Deepak" userId="S::deepak.petchimuthu@iwes.fraunhofer.de::6f208555-eba7-40e3-86ed-994763cf54a8" providerId="AD" clId="Web-{471F754E-4BB5-7825-1386-D0F08AD00A11}" dt="2025-08-10T10:25:48.326" v="7"/>
          <ac:spMkLst>
            <pc:docMk/>
            <pc:sldMk cId="1179350309" sldId="568"/>
            <ac:spMk id="8" creationId="{54DA03E3-CC02-9136-B866-67D950494C1A}"/>
          </ac:spMkLst>
        </pc:spChg>
        <pc:spChg chg="mod">
          <ac:chgData name="Petchimuthu, Deepak" userId="S::deepak.petchimuthu@iwes.fraunhofer.de::6f208555-eba7-40e3-86ed-994763cf54a8" providerId="AD" clId="Web-{471F754E-4BB5-7825-1386-D0F08AD00A11}" dt="2025-08-10T10:44:27.878" v="76" actId="20577"/>
          <ac:spMkLst>
            <pc:docMk/>
            <pc:sldMk cId="1179350309" sldId="568"/>
            <ac:spMk id="9" creationId="{F911BE74-4405-9219-3D74-BBC22DACE79B}"/>
          </ac:spMkLst>
        </pc:spChg>
        <pc:picChg chg="add del mod modCrop">
          <ac:chgData name="Petchimuthu, Deepak" userId="S::deepak.petchimuthu@iwes.fraunhofer.de::6f208555-eba7-40e3-86ed-994763cf54a8" providerId="AD" clId="Web-{471F754E-4BB5-7825-1386-D0F08AD00A11}" dt="2025-08-10T10:29:24.843" v="14"/>
          <ac:picMkLst>
            <pc:docMk/>
            <pc:sldMk cId="1179350309" sldId="568"/>
            <ac:picMk id="5" creationId="{E1FB2DBB-B9F2-7650-0E9B-A72643B5753F}"/>
          </ac:picMkLst>
        </pc:picChg>
        <pc:picChg chg="add mod">
          <ac:chgData name="Petchimuthu, Deepak" userId="S::deepak.petchimuthu@iwes.fraunhofer.de::6f208555-eba7-40e3-86ed-994763cf54a8" providerId="AD" clId="Web-{471F754E-4BB5-7825-1386-D0F08AD00A11}" dt="2025-08-10T10:32:10.634" v="29" actId="14100"/>
          <ac:picMkLst>
            <pc:docMk/>
            <pc:sldMk cId="1179350309" sldId="568"/>
            <ac:picMk id="6" creationId="{84765A88-5C6C-243A-9D93-8B82D7314DAF}"/>
          </ac:picMkLst>
        </pc:picChg>
        <pc:picChg chg="del">
          <ac:chgData name="Petchimuthu, Deepak" userId="S::deepak.petchimuthu@iwes.fraunhofer.de::6f208555-eba7-40e3-86ed-994763cf54a8" providerId="AD" clId="Web-{471F754E-4BB5-7825-1386-D0F08AD00A11}" dt="2025-08-10T10:24:42.638" v="5"/>
          <ac:picMkLst>
            <pc:docMk/>
            <pc:sldMk cId="1179350309" sldId="568"/>
            <ac:picMk id="14" creationId="{5FB398A4-3081-4546-03CC-59F04EE9F68C}"/>
          </ac:picMkLst>
        </pc:picChg>
      </pc:sldChg>
      <pc:sldChg chg="delSp modSp modCm">
        <pc:chgData name="Petchimuthu, Deepak" userId="S::deepak.petchimuthu@iwes.fraunhofer.de::6f208555-eba7-40e3-86ed-994763cf54a8" providerId="AD" clId="Web-{471F754E-4BB5-7825-1386-D0F08AD00A11}" dt="2025-08-10T10:30:50.863" v="28" actId="20577"/>
        <pc:sldMkLst>
          <pc:docMk/>
          <pc:sldMk cId="3249783667" sldId="569"/>
        </pc:sldMkLst>
        <pc:spChg chg="mod">
          <ac:chgData name="Petchimuthu, Deepak" userId="S::deepak.petchimuthu@iwes.fraunhofer.de::6f208555-eba7-40e3-86ed-994763cf54a8" providerId="AD" clId="Web-{471F754E-4BB5-7825-1386-D0F08AD00A11}" dt="2025-08-10T10:30:50.863" v="28" actId="20577"/>
          <ac:spMkLst>
            <pc:docMk/>
            <pc:sldMk cId="3249783667" sldId="569"/>
            <ac:spMk id="8" creationId="{879A0574-4813-3A44-4F8E-AE17BBC4CAD4}"/>
          </ac:spMkLst>
        </pc:spChg>
        <pc:picChg chg="del">
          <ac:chgData name="Petchimuthu, Deepak" userId="S::deepak.petchimuthu@iwes.fraunhofer.de::6f208555-eba7-40e3-86ed-994763cf54a8" providerId="AD" clId="Web-{471F754E-4BB5-7825-1386-D0F08AD00A11}" dt="2025-08-10T10:29:43.452" v="19"/>
          <ac:picMkLst>
            <pc:docMk/>
            <pc:sldMk cId="3249783667" sldId="569"/>
            <ac:picMk id="9" creationId="{AA51E603-284B-8B83-1B94-B6D226E8C20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Petchimuthu, Deepak" userId="S::deepak.petchimuthu@iwes.fraunhofer.de::6f208555-eba7-40e3-86ed-994763cf54a8" providerId="AD" clId="Web-{471F754E-4BB5-7825-1386-D0F08AD00A11}" dt="2025-08-10T10:30:50.863" v="28" actId="20577"/>
              <pc2:cmMkLst xmlns:pc2="http://schemas.microsoft.com/office/powerpoint/2019/9/main/command">
                <pc:docMk/>
                <pc:sldMk cId="3249783667" sldId="569"/>
                <pc2:cmMk id="{B854ADAC-9624-4564-A1D1-C0879EE79ABF}"/>
              </pc2:cmMkLst>
            </pc226:cmChg>
          </p:ext>
        </pc:extLst>
      </pc:sldChg>
      <pc:sldChg chg="add replId">
        <pc:chgData name="Petchimuthu, Deepak" userId="S::deepak.petchimuthu@iwes.fraunhofer.de::6f208555-eba7-40e3-86ed-994763cf54a8" providerId="AD" clId="Web-{471F754E-4BB5-7825-1386-D0F08AD00A11}" dt="2025-08-10T10:42:41.675" v="41"/>
        <pc:sldMkLst>
          <pc:docMk/>
          <pc:sldMk cId="3342580150" sldId="578"/>
        </pc:sldMkLst>
      </pc:sldChg>
      <pc:sldChg chg="add del ord replId">
        <pc:chgData name="Petchimuthu, Deepak" userId="S::deepak.petchimuthu@iwes.fraunhofer.de::6f208555-eba7-40e3-86ed-994763cf54a8" providerId="AD" clId="Web-{471F754E-4BB5-7825-1386-D0F08AD00A11}" dt="2025-08-10T10:42:35.565" v="40"/>
        <pc:sldMkLst>
          <pc:docMk/>
          <pc:sldMk cId="4176624602" sldId="578"/>
        </pc:sldMkLst>
      </pc:sldChg>
    </pc:docChg>
  </pc:docChgLst>
  <pc:docChgLst>
    <pc:chgData name="Reis, Guilherme" userId="c94ddd04-2f9e-416d-8540-ca621e33f065" providerId="ADAL" clId="{373B5EA4-9B37-4F8E-A79A-A2557636F020}"/>
    <pc:docChg chg="custSel modSld">
      <pc:chgData name="Reis, Guilherme" userId="c94ddd04-2f9e-416d-8540-ca621e33f065" providerId="ADAL" clId="{373B5EA4-9B37-4F8E-A79A-A2557636F020}" dt="2024-02-29T09:41:51.679" v="253" actId="14100"/>
      <pc:docMkLst>
        <pc:docMk/>
      </pc:docMkLst>
      <pc:sldChg chg="addCm">
        <pc:chgData name="Reis, Guilherme" userId="c94ddd04-2f9e-416d-8540-ca621e33f065" providerId="ADAL" clId="{373B5EA4-9B37-4F8E-A79A-A2557636F020}" dt="2024-02-29T09:27:18.548" v="69"/>
        <pc:sldMkLst>
          <pc:docMk/>
          <pc:sldMk cId="1521177613" sldId="51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eis, Guilherme" userId="c94ddd04-2f9e-416d-8540-ca621e33f065" providerId="ADAL" clId="{373B5EA4-9B37-4F8E-A79A-A2557636F020}" dt="2024-02-29T09:27:18.548" v="69"/>
              <pc2:cmMkLst xmlns:pc2="http://schemas.microsoft.com/office/powerpoint/2019/9/main/command">
                <pc:docMk/>
                <pc:sldMk cId="1521177613" sldId="514"/>
                <pc2:cmMk id="{807BF08F-6D7C-431D-B808-73D69744377E}"/>
              </pc2:cmMkLst>
            </pc226:cmChg>
          </p:ext>
        </pc:extLst>
      </pc:sldChg>
      <pc:sldChg chg="modNotesTx">
        <pc:chgData name="Reis, Guilherme" userId="c94ddd04-2f9e-416d-8540-ca621e33f065" providerId="ADAL" clId="{373B5EA4-9B37-4F8E-A79A-A2557636F020}" dt="2024-02-29T09:25:13.971" v="19" actId="20577"/>
        <pc:sldMkLst>
          <pc:docMk/>
          <pc:sldMk cId="2208806479" sldId="523"/>
        </pc:sldMkLst>
      </pc:sldChg>
      <pc:sldChg chg="modNotesTx">
        <pc:chgData name="Reis, Guilherme" userId="c94ddd04-2f9e-416d-8540-ca621e33f065" providerId="ADAL" clId="{373B5EA4-9B37-4F8E-A79A-A2557636F020}" dt="2024-02-29T09:26:28.819" v="68" actId="20577"/>
        <pc:sldMkLst>
          <pc:docMk/>
          <pc:sldMk cId="3006719269" sldId="526"/>
        </pc:sldMkLst>
      </pc:sldChg>
      <pc:sldChg chg="modSp mod modNotesTx">
        <pc:chgData name="Reis, Guilherme" userId="c94ddd04-2f9e-416d-8540-ca621e33f065" providerId="ADAL" clId="{373B5EA4-9B37-4F8E-A79A-A2557636F020}" dt="2024-02-29T09:29:11.147" v="170" actId="20577"/>
        <pc:sldMkLst>
          <pc:docMk/>
          <pc:sldMk cId="1012457884" sldId="527"/>
        </pc:sldMkLst>
      </pc:sldChg>
      <pc:sldChg chg="addCm">
        <pc:chgData name="Reis, Guilherme" userId="c94ddd04-2f9e-416d-8540-ca621e33f065" providerId="ADAL" clId="{373B5EA4-9B37-4F8E-A79A-A2557636F020}" dt="2024-02-29T09:39:46.419" v="252"/>
        <pc:sldMkLst>
          <pc:docMk/>
          <pc:sldMk cId="3790260449" sldId="53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eis, Guilherme" userId="c94ddd04-2f9e-416d-8540-ca621e33f065" providerId="ADAL" clId="{373B5EA4-9B37-4F8E-A79A-A2557636F020}" dt="2024-02-29T09:39:46.419" v="252"/>
              <pc2:cmMkLst xmlns:pc2="http://schemas.microsoft.com/office/powerpoint/2019/9/main/command">
                <pc:docMk/>
                <pc:sldMk cId="3790260449" sldId="538"/>
                <pc2:cmMk id="{68DB6781-2489-451B-BFE6-DEF6E3C63AD8}"/>
              </pc2:cmMkLst>
            </pc226:cmChg>
          </p:ext>
        </pc:extLst>
      </pc:sldChg>
      <pc:sldChg chg="addCm">
        <pc:chgData name="Reis, Guilherme" userId="c94ddd04-2f9e-416d-8540-ca621e33f065" providerId="ADAL" clId="{373B5EA4-9B37-4F8E-A79A-A2557636F020}" dt="2024-02-29T09:38:10.400" v="251"/>
        <pc:sldMkLst>
          <pc:docMk/>
          <pc:sldMk cId="642269067" sldId="54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eis, Guilherme" userId="c94ddd04-2f9e-416d-8540-ca621e33f065" providerId="ADAL" clId="{373B5EA4-9B37-4F8E-A79A-A2557636F020}" dt="2024-02-29T09:38:10.400" v="251"/>
              <pc2:cmMkLst xmlns:pc2="http://schemas.microsoft.com/office/powerpoint/2019/9/main/command">
                <pc:docMk/>
                <pc:sldMk cId="642269067" sldId="542"/>
                <pc2:cmMk id="{AE8B638F-E324-4C1C-BB4E-92F0BF39FC21}"/>
              </pc2:cmMkLst>
            </pc226:cmChg>
          </p:ext>
        </pc:extLst>
      </pc:sldChg>
      <pc:sldChg chg="modSp mod">
        <pc:chgData name="Reis, Guilherme" userId="c94ddd04-2f9e-416d-8540-ca621e33f065" providerId="ADAL" clId="{373B5EA4-9B37-4F8E-A79A-A2557636F020}" dt="2024-02-29T09:41:51.679" v="253" actId="14100"/>
        <pc:sldMkLst>
          <pc:docMk/>
          <pc:sldMk cId="1366655329" sldId="545"/>
        </pc:sldMkLst>
      </pc:sldChg>
      <pc:sldChg chg="addSp delSp modSp mod addCm modCm">
        <pc:chgData name="Reis, Guilherme" userId="c94ddd04-2f9e-416d-8540-ca621e33f065" providerId="ADAL" clId="{373B5EA4-9B37-4F8E-A79A-A2557636F020}" dt="2024-02-29T09:33:41.011" v="250" actId="14100"/>
        <pc:sldMkLst>
          <pc:docMk/>
          <pc:sldMk cId="993665370" sldId="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eis, Guilherme" userId="c94ddd04-2f9e-416d-8540-ca621e33f065" providerId="ADAL" clId="{373B5EA4-9B37-4F8E-A79A-A2557636F020}" dt="2024-02-29T09:33:12.109" v="248" actId="2056"/>
              <pc2:cmMkLst xmlns:pc2="http://schemas.microsoft.com/office/powerpoint/2019/9/main/command">
                <pc:docMk/>
                <pc:sldMk cId="993665370" sldId="550"/>
                <pc2:cmMk id="{BA7A6DC2-B2A5-43BB-ABF5-B5D5664AAF75}"/>
              </pc2:cmMkLst>
            </pc226:cmChg>
          </p:ext>
        </pc:extLst>
      </pc:sldChg>
      <pc:sldChg chg="modNotesTx">
        <pc:chgData name="Reis, Guilherme" userId="c94ddd04-2f9e-416d-8540-ca621e33f065" providerId="ADAL" clId="{373B5EA4-9B37-4F8E-A79A-A2557636F020}" dt="2024-02-29T09:30:36.342" v="240" actId="20577"/>
        <pc:sldMkLst>
          <pc:docMk/>
          <pc:sldMk cId="2052096833" sldId="552"/>
        </pc:sldMkLst>
      </pc:sldChg>
    </pc:docChg>
  </pc:docChgLst>
  <pc:docChgLst>
    <pc:chgData name="Reis, Guilherme" userId="c94ddd04-2f9e-416d-8540-ca621e33f065" providerId="ADAL" clId="{B5BE2F3D-9027-4A8A-BC60-F5BEAC14F7BD}"/>
    <pc:docChg chg="modSld">
      <pc:chgData name="Reis, Guilherme" userId="c94ddd04-2f9e-416d-8540-ca621e33f065" providerId="ADAL" clId="{B5BE2F3D-9027-4A8A-BC60-F5BEAC14F7BD}" dt="2025-01-27T09:57:28.386" v="387" actId="20577"/>
      <pc:docMkLst>
        <pc:docMk/>
      </pc:docMkLst>
      <pc:sldChg chg="addSp modSp mod modAnim">
        <pc:chgData name="Reis, Guilherme" userId="c94ddd04-2f9e-416d-8540-ca621e33f065" providerId="ADAL" clId="{B5BE2F3D-9027-4A8A-BC60-F5BEAC14F7BD}" dt="2025-01-27T09:57:28.386" v="387" actId="20577"/>
        <pc:sldMkLst>
          <pc:docMk/>
          <pc:sldMk cId="797031630" sldId="553"/>
        </pc:sldMkLst>
      </pc:sldChg>
      <pc:sldChg chg="modSp mod">
        <pc:chgData name="Reis, Guilherme" userId="c94ddd04-2f9e-416d-8540-ca621e33f065" providerId="ADAL" clId="{B5BE2F3D-9027-4A8A-BC60-F5BEAC14F7BD}" dt="2025-01-27T09:53:35.160" v="197" actId="20577"/>
        <pc:sldMkLst>
          <pc:docMk/>
          <pc:sldMk cId="92633487" sldId="566"/>
        </pc:sldMkLst>
      </pc:sldChg>
      <pc:sldChg chg="addSp modSp mod modAnim">
        <pc:chgData name="Reis, Guilherme" userId="c94ddd04-2f9e-416d-8540-ca621e33f065" providerId="ADAL" clId="{B5BE2F3D-9027-4A8A-BC60-F5BEAC14F7BD}" dt="2025-01-27T09:52:10.557" v="176" actId="20577"/>
        <pc:sldMkLst>
          <pc:docMk/>
          <pc:sldMk cId="2662964487" sldId="567"/>
        </pc:sldMkLst>
      </pc:sldChg>
    </pc:docChg>
  </pc:docChgLst>
  <pc:docChgLst>
    <pc:chgData name="Petchimuthu, Deepak" userId="S::deepak.petchimuthu@iwes.fraunhofer.de::6f208555-eba7-40e3-86ed-994763cf54a8" providerId="AD" clId="Web-{D6C6EF95-82E9-5F83-4D84-E790208594EC}"/>
    <pc:docChg chg="modSld">
      <pc:chgData name="Petchimuthu, Deepak" userId="S::deepak.petchimuthu@iwes.fraunhofer.de::6f208555-eba7-40e3-86ed-994763cf54a8" providerId="AD" clId="Web-{D6C6EF95-82E9-5F83-4D84-E790208594EC}" dt="2025-05-11T15:40:23.239" v="24"/>
      <pc:docMkLst>
        <pc:docMk/>
      </pc:docMkLst>
      <pc:sldChg chg="modSp">
        <pc:chgData name="Petchimuthu, Deepak" userId="S::deepak.petchimuthu@iwes.fraunhofer.de::6f208555-eba7-40e3-86ed-994763cf54a8" providerId="AD" clId="Web-{D6C6EF95-82E9-5F83-4D84-E790208594EC}" dt="2025-05-11T15:25:40.043" v="17" actId="20577"/>
        <pc:sldMkLst>
          <pc:docMk/>
          <pc:sldMk cId="2940013499" sldId="396"/>
        </pc:sldMkLst>
      </pc:sldChg>
      <pc:sldChg chg="modSp">
        <pc:chgData name="Petchimuthu, Deepak" userId="S::deepak.petchimuthu@iwes.fraunhofer.de::6f208555-eba7-40e3-86ed-994763cf54a8" providerId="AD" clId="Web-{D6C6EF95-82E9-5F83-4D84-E790208594EC}" dt="2025-05-11T15:26:12.325" v="22" actId="20577"/>
        <pc:sldMkLst>
          <pc:docMk/>
          <pc:sldMk cId="1905633984" sldId="459"/>
        </pc:sldMkLst>
      </pc:sldChg>
      <pc:sldChg chg="addSp delSp modSp">
        <pc:chgData name="Petchimuthu, Deepak" userId="S::deepak.petchimuthu@iwes.fraunhofer.de::6f208555-eba7-40e3-86ed-994763cf54a8" providerId="AD" clId="Web-{D6C6EF95-82E9-5F83-4D84-E790208594EC}" dt="2025-05-11T15:40:23.239" v="24"/>
        <pc:sldMkLst>
          <pc:docMk/>
          <pc:sldMk cId="1179350309" sldId="568"/>
        </pc:sldMkLst>
      </pc:sldChg>
    </pc:docChg>
  </pc:docChgLst>
  <pc:docChgLst>
    <pc:chgData name="Petchimuthu, Deepak" userId="6f208555-eba7-40e3-86ed-994763cf54a8" providerId="ADAL" clId="{C5FDCB71-DABC-4761-95AE-4F81DBD83BB3}"/>
    <pc:docChg chg="undo custSel addSld delSld modSld sldOrd modSection">
      <pc:chgData name="Petchimuthu, Deepak" userId="6f208555-eba7-40e3-86ed-994763cf54a8" providerId="ADAL" clId="{C5FDCB71-DABC-4761-95AE-4F81DBD83BB3}" dt="2025-05-13T08:18:37.949" v="531" actId="1076"/>
      <pc:docMkLst>
        <pc:docMk/>
      </pc:docMkLst>
      <pc:sldChg chg="modSp mod">
        <pc:chgData name="Petchimuthu, Deepak" userId="6f208555-eba7-40e3-86ed-994763cf54a8" providerId="ADAL" clId="{C5FDCB71-DABC-4761-95AE-4F81DBD83BB3}" dt="2025-05-13T07:29:45.026" v="503" actId="20577"/>
        <pc:sldMkLst>
          <pc:docMk/>
          <pc:sldMk cId="1905633984" sldId="459"/>
        </pc:sldMkLst>
      </pc:sldChg>
      <pc:sldChg chg="delSp modSp mod delAnim">
        <pc:chgData name="Petchimuthu, Deepak" userId="6f208555-eba7-40e3-86ed-994763cf54a8" providerId="ADAL" clId="{C5FDCB71-DABC-4761-95AE-4F81DBD83BB3}" dt="2025-05-13T06:48:17.177" v="356"/>
        <pc:sldMkLst>
          <pc:docMk/>
          <pc:sldMk cId="1521177613" sldId="514"/>
        </pc:sldMkLst>
      </pc:sldChg>
      <pc:sldChg chg="modSp mod">
        <pc:chgData name="Petchimuthu, Deepak" userId="6f208555-eba7-40e3-86ed-994763cf54a8" providerId="ADAL" clId="{C5FDCB71-DABC-4761-95AE-4F81DBD83BB3}" dt="2025-05-13T07:15:23.954" v="479" actId="20577"/>
        <pc:sldMkLst>
          <pc:docMk/>
          <pc:sldMk cId="92633487" sldId="566"/>
        </pc:sldMkLst>
      </pc:sldChg>
      <pc:sldChg chg="modSp">
        <pc:chgData name="Petchimuthu, Deepak" userId="6f208555-eba7-40e3-86ed-994763cf54a8" providerId="ADAL" clId="{C5FDCB71-DABC-4761-95AE-4F81DBD83BB3}" dt="2025-05-12T19:16:20.124" v="204" actId="404"/>
        <pc:sldMkLst>
          <pc:docMk/>
          <pc:sldMk cId="2662964487" sldId="567"/>
        </pc:sldMkLst>
      </pc:sldChg>
      <pc:sldChg chg="addSp delSp modSp mod setBg modClrScheme chgLayout">
        <pc:chgData name="Petchimuthu, Deepak" userId="6f208555-eba7-40e3-86ed-994763cf54a8" providerId="ADAL" clId="{C5FDCB71-DABC-4761-95AE-4F81DBD83BB3}" dt="2025-05-12T19:16:48.362" v="207" actId="255"/>
        <pc:sldMkLst>
          <pc:docMk/>
          <pc:sldMk cId="1179350309" sldId="568"/>
        </pc:sldMkLst>
      </pc:sldChg>
      <pc:sldChg chg="addSp modSp mod modCm">
        <pc:chgData name="Petchimuthu, Deepak" userId="6f208555-eba7-40e3-86ed-994763cf54a8" providerId="ADAL" clId="{C5FDCB71-DABC-4761-95AE-4F81DBD83BB3}" dt="2025-05-13T06:57:01.651" v="373" actId="20577"/>
        <pc:sldMkLst>
          <pc:docMk/>
          <pc:sldMk cId="3249783667" sldId="5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Petchimuthu, Deepak" userId="6f208555-eba7-40e3-86ed-994763cf54a8" providerId="ADAL" clId="{C5FDCB71-DABC-4761-95AE-4F81DBD83BB3}" dt="2025-05-13T06:57:01.651" v="373" actId="20577"/>
              <pc2:cmMkLst xmlns:pc2="http://schemas.microsoft.com/office/powerpoint/2019/9/main/command">
                <pc:docMk/>
                <pc:sldMk cId="3249783667" sldId="569"/>
                <pc2:cmMk id="{B854ADAC-9624-4564-A1D1-C0879EE79ABF}"/>
              </pc2:cmMkLst>
            </pc226:cmChg>
          </p:ext>
        </pc:extLst>
      </pc:sldChg>
      <pc:sldChg chg="addSp delSp modSp mod">
        <pc:chgData name="Petchimuthu, Deepak" userId="6f208555-eba7-40e3-86ed-994763cf54a8" providerId="ADAL" clId="{C5FDCB71-DABC-4761-95AE-4F81DBD83BB3}" dt="2025-05-12T19:26:21.394" v="286" actId="20577"/>
        <pc:sldMkLst>
          <pc:docMk/>
          <pc:sldMk cId="3887303611" sldId="570"/>
        </pc:sldMkLst>
      </pc:sldChg>
      <pc:sldChg chg="addSp delSp modSp mod ord">
        <pc:chgData name="Petchimuthu, Deepak" userId="6f208555-eba7-40e3-86ed-994763cf54a8" providerId="ADAL" clId="{C5FDCB71-DABC-4761-95AE-4F81DBD83BB3}" dt="2025-05-12T19:20:48.140" v="254" actId="404"/>
        <pc:sldMkLst>
          <pc:docMk/>
          <pc:sldMk cId="2265236705" sldId="572"/>
        </pc:sldMkLst>
      </pc:sldChg>
      <pc:sldChg chg="modSp mod setBg">
        <pc:chgData name="Petchimuthu, Deepak" userId="6f208555-eba7-40e3-86ed-994763cf54a8" providerId="ADAL" clId="{C5FDCB71-DABC-4761-95AE-4F81DBD83BB3}" dt="2025-05-13T07:08:06.718" v="398" actId="20577"/>
        <pc:sldMkLst>
          <pc:docMk/>
          <pc:sldMk cId="2939236652" sldId="574"/>
        </pc:sldMkLst>
      </pc:sldChg>
      <pc:sldChg chg="addSp delSp modSp mod">
        <pc:chgData name="Petchimuthu, Deepak" userId="6f208555-eba7-40e3-86ed-994763cf54a8" providerId="ADAL" clId="{C5FDCB71-DABC-4761-95AE-4F81DBD83BB3}" dt="2025-05-13T08:18:37.949" v="531" actId="1076"/>
        <pc:sldMkLst>
          <pc:docMk/>
          <pc:sldMk cId="3607517346" sldId="575"/>
        </pc:sldMkLst>
      </pc:sldChg>
      <pc:sldChg chg="del">
        <pc:chgData name="Petchimuthu, Deepak" userId="6f208555-eba7-40e3-86ed-994763cf54a8" providerId="ADAL" clId="{C5FDCB71-DABC-4761-95AE-4F81DBD83BB3}" dt="2025-05-12T20:00:16.767" v="350" actId="2696"/>
        <pc:sldMkLst>
          <pc:docMk/>
          <pc:sldMk cId="1119098896" sldId="576"/>
        </pc:sldMkLst>
      </pc:sldChg>
      <pc:sldChg chg="addSp delSp modSp add mod">
        <pc:chgData name="Petchimuthu, Deepak" userId="6f208555-eba7-40e3-86ed-994763cf54a8" providerId="ADAL" clId="{C5FDCB71-DABC-4761-95AE-4F81DBD83BB3}" dt="2025-05-12T18:54:23.351" v="149" actId="313"/>
        <pc:sldMkLst>
          <pc:docMk/>
          <pc:sldMk cId="2298508615" sldId="577"/>
        </pc:sldMkLst>
      </pc:sldChg>
    </pc:docChg>
  </pc:docChgLst>
  <pc:docChgLst>
    <pc:chgData name="Petchimuthu, Deepak" userId="S::deepak.petchimuthu@iwes.fraunhofer.de::6f208555-eba7-40e3-86ed-994763cf54a8" providerId="AD" clId="Web-{9B1394FD-EAC1-5A41-9D86-149B28BB8919}"/>
    <pc:docChg chg="delSld modSld sldOrd modSection">
      <pc:chgData name="Petchimuthu, Deepak" userId="S::deepak.petchimuthu@iwes.fraunhofer.de::6f208555-eba7-40e3-86ed-994763cf54a8" providerId="AD" clId="Web-{9B1394FD-EAC1-5A41-9D86-149B28BB8919}" dt="2025-05-12T18:04:55.777" v="379"/>
      <pc:docMkLst>
        <pc:docMk/>
      </pc:docMkLst>
      <pc:sldChg chg="modSp ord">
        <pc:chgData name="Petchimuthu, Deepak" userId="S::deepak.petchimuthu@iwes.fraunhofer.de::6f208555-eba7-40e3-86ed-994763cf54a8" providerId="AD" clId="Web-{9B1394FD-EAC1-5A41-9D86-149B28BB8919}" dt="2025-05-12T12:01:40.100" v="366" actId="20577"/>
        <pc:sldMkLst>
          <pc:docMk/>
          <pc:sldMk cId="1905633984" sldId="459"/>
        </pc:sldMkLst>
      </pc:sldChg>
      <pc:sldChg chg="delSp modSp ord delAnim">
        <pc:chgData name="Petchimuthu, Deepak" userId="S::deepak.petchimuthu@iwes.fraunhofer.de::6f208555-eba7-40e3-86ed-994763cf54a8" providerId="AD" clId="Web-{9B1394FD-EAC1-5A41-9D86-149B28BB8919}" dt="2025-05-12T18:03:23.310" v="377" actId="1076"/>
        <pc:sldMkLst>
          <pc:docMk/>
          <pc:sldMk cId="1521177613" sldId="514"/>
        </pc:sldMkLst>
      </pc:sldChg>
      <pc:sldChg chg="del">
        <pc:chgData name="Petchimuthu, Deepak" userId="S::deepak.petchimuthu@iwes.fraunhofer.de::6f208555-eba7-40e3-86ed-994763cf54a8" providerId="AD" clId="Web-{9B1394FD-EAC1-5A41-9D86-149B28BB8919}" dt="2025-05-12T11:28:17.401" v="174"/>
        <pc:sldMkLst>
          <pc:docMk/>
          <pc:sldMk cId="797031630" sldId="553"/>
        </pc:sldMkLst>
      </pc:sldChg>
      <pc:sldChg chg="modSp">
        <pc:chgData name="Petchimuthu, Deepak" userId="S::deepak.petchimuthu@iwes.fraunhofer.de::6f208555-eba7-40e3-86ed-994763cf54a8" providerId="AD" clId="Web-{9B1394FD-EAC1-5A41-9D86-149B28BB8919}" dt="2025-05-12T11:39:31.061" v="285" actId="20577"/>
        <pc:sldMkLst>
          <pc:docMk/>
          <pc:sldMk cId="92633487" sldId="566"/>
        </pc:sldMkLst>
      </pc:sldChg>
      <pc:sldChg chg="addSp delSp modSp mod ord modClrScheme chgLayout">
        <pc:chgData name="Petchimuthu, Deepak" userId="S::deepak.petchimuthu@iwes.fraunhofer.de::6f208555-eba7-40e3-86ed-994763cf54a8" providerId="AD" clId="Web-{9B1394FD-EAC1-5A41-9D86-149B28BB8919}" dt="2025-05-12T18:02:25.076" v="368"/>
        <pc:sldMkLst>
          <pc:docMk/>
          <pc:sldMk cId="2662964487" sldId="567"/>
        </pc:sldMkLst>
      </pc:sldChg>
      <pc:sldChg chg="addSp delSp modSp addAnim">
        <pc:chgData name="Petchimuthu, Deepak" userId="S::deepak.petchimuthu@iwes.fraunhofer.de::6f208555-eba7-40e3-86ed-994763cf54a8" providerId="AD" clId="Web-{9B1394FD-EAC1-5A41-9D86-149B28BB8919}" dt="2025-05-12T18:04:55.777" v="379"/>
        <pc:sldMkLst>
          <pc:docMk/>
          <pc:sldMk cId="1179350309" sldId="568"/>
        </pc:sldMkLst>
      </pc:sldChg>
      <pc:sldChg chg="addSp delSp modSp">
        <pc:chgData name="Petchimuthu, Deepak" userId="S::deepak.petchimuthu@iwes.fraunhofer.de::6f208555-eba7-40e3-86ed-994763cf54a8" providerId="AD" clId="Web-{9B1394FD-EAC1-5A41-9D86-149B28BB8919}" dt="2025-05-12T11:54:40.400" v="355" actId="20577"/>
        <pc:sldMkLst>
          <pc:docMk/>
          <pc:sldMk cId="3249783667" sldId="569"/>
        </pc:sldMkLst>
      </pc:sldChg>
      <pc:sldChg chg="addSp delSp modSp">
        <pc:chgData name="Petchimuthu, Deepak" userId="S::deepak.petchimuthu@iwes.fraunhofer.de::6f208555-eba7-40e3-86ed-994763cf54a8" providerId="AD" clId="Web-{9B1394FD-EAC1-5A41-9D86-149B28BB8919}" dt="2025-05-12T11:57:12.483" v="358" actId="20577"/>
        <pc:sldMkLst>
          <pc:docMk/>
          <pc:sldMk cId="3887303611" sldId="570"/>
        </pc:sldMkLst>
      </pc:sldChg>
      <pc:sldChg chg="del">
        <pc:chgData name="Petchimuthu, Deepak" userId="S::deepak.petchimuthu@iwes.fraunhofer.de::6f208555-eba7-40e3-86ed-994763cf54a8" providerId="AD" clId="Web-{9B1394FD-EAC1-5A41-9D86-149B28BB8919}" dt="2025-05-12T11:35:37.367" v="238"/>
        <pc:sldMkLst>
          <pc:docMk/>
          <pc:sldMk cId="974978911" sldId="571"/>
        </pc:sldMkLst>
      </pc:sldChg>
      <pc:sldChg chg="addSp delSp modSp mod modClrScheme chgLayout">
        <pc:chgData name="Petchimuthu, Deepak" userId="S::deepak.petchimuthu@iwes.fraunhofer.de::6f208555-eba7-40e3-86ed-994763cf54a8" providerId="AD" clId="Web-{9B1394FD-EAC1-5A41-9D86-149B28BB8919}" dt="2025-05-12T11:51:19.691" v="309" actId="20577"/>
        <pc:sldMkLst>
          <pc:docMk/>
          <pc:sldMk cId="2265236705" sldId="572"/>
        </pc:sldMkLst>
      </pc:sldChg>
      <pc:sldChg chg="delSp del delAnim">
        <pc:chgData name="Petchimuthu, Deepak" userId="S::deepak.petchimuthu@iwes.fraunhofer.de::6f208555-eba7-40e3-86ed-994763cf54a8" providerId="AD" clId="Web-{9B1394FD-EAC1-5A41-9D86-149B28BB8919}" dt="2025-05-12T11:58:03.188" v="359"/>
        <pc:sldMkLst>
          <pc:docMk/>
          <pc:sldMk cId="4275324839" sldId="573"/>
        </pc:sldMkLst>
      </pc:sldChg>
      <pc:sldChg chg="delSp modSp">
        <pc:chgData name="Petchimuthu, Deepak" userId="S::deepak.petchimuthu@iwes.fraunhofer.de::6f208555-eba7-40e3-86ed-994763cf54a8" providerId="AD" clId="Web-{9B1394FD-EAC1-5A41-9D86-149B28BB8919}" dt="2025-05-12T12:50:29.998" v="367" actId="1076"/>
        <pc:sldMkLst>
          <pc:docMk/>
          <pc:sldMk cId="2939236652" sldId="574"/>
        </pc:sldMkLst>
      </pc:sldChg>
      <pc:sldChg chg="delSp">
        <pc:chgData name="Petchimuthu, Deepak" userId="S::deepak.petchimuthu@iwes.fraunhofer.de::6f208555-eba7-40e3-86ed-994763cf54a8" providerId="AD" clId="Web-{9B1394FD-EAC1-5A41-9D86-149B28BB8919}" dt="2025-05-12T11:33:03.472" v="195"/>
        <pc:sldMkLst>
          <pc:docMk/>
          <pc:sldMk cId="3607517346" sldId="575"/>
        </pc:sldMkLst>
      </pc:sldChg>
      <pc:sldChg chg="delSp">
        <pc:chgData name="Petchimuthu, Deepak" userId="S::deepak.petchimuthu@iwes.fraunhofer.de::6f208555-eba7-40e3-86ed-994763cf54a8" providerId="AD" clId="Web-{9B1394FD-EAC1-5A41-9D86-149B28BB8919}" dt="2025-05-12T11:33:01.081" v="193"/>
        <pc:sldMkLst>
          <pc:docMk/>
          <pc:sldMk cId="1119098896" sldId="576"/>
        </pc:sldMkLst>
      </pc:sldChg>
    </pc:docChg>
  </pc:docChgLst>
  <pc:docChgLst>
    <pc:chgData name="Petchimuthu, Deepak" userId="S::deepak.petchimuthu@iwes.fraunhofer.de::6f208555-eba7-40e3-86ed-994763cf54a8" providerId="AD" clId="Web-{241B279D-1591-0E4B-2BC5-9D1F7004A4AF}"/>
    <pc:docChg chg="modSld">
      <pc:chgData name="Petchimuthu, Deepak" userId="S::deepak.petchimuthu@iwes.fraunhofer.de::6f208555-eba7-40e3-86ed-994763cf54a8" providerId="AD" clId="Web-{241B279D-1591-0E4B-2BC5-9D1F7004A4AF}" dt="2025-05-19T13:34:02.168" v="0" actId="1076"/>
      <pc:docMkLst>
        <pc:docMk/>
      </pc:docMkLst>
      <pc:sldChg chg="modSp">
        <pc:chgData name="Petchimuthu, Deepak" userId="S::deepak.petchimuthu@iwes.fraunhofer.de::6f208555-eba7-40e3-86ed-994763cf54a8" providerId="AD" clId="Web-{241B279D-1591-0E4B-2BC5-9D1F7004A4AF}" dt="2025-05-19T13:34:02.168" v="0" actId="1076"/>
        <pc:sldMkLst>
          <pc:docMk/>
          <pc:sldMk cId="1179350309" sldId="568"/>
        </pc:sldMkLst>
      </pc:sldChg>
    </pc:docChg>
  </pc:docChgLst>
  <pc:docChgLst>
    <pc:chgData name="Reis, Guilherme" userId="c94ddd04-2f9e-416d-8540-ca621e33f065" providerId="ADAL" clId="{635ED719-95E7-4EDB-8D89-F2B8BB573962}"/>
    <pc:docChg chg="undo custSel addSld delSld modSld sldOrd modSection">
      <pc:chgData name="Reis, Guilherme" userId="c94ddd04-2f9e-416d-8540-ca621e33f065" providerId="ADAL" clId="{635ED719-95E7-4EDB-8D89-F2B8BB573962}" dt="2024-10-15T07:51:40.765" v="852" actId="20577"/>
      <pc:docMkLst>
        <pc:docMk/>
      </pc:docMkLst>
      <pc:sldChg chg="modSp modAnim">
        <pc:chgData name="Reis, Guilherme" userId="c94ddd04-2f9e-416d-8540-ca621e33f065" providerId="ADAL" clId="{635ED719-95E7-4EDB-8D89-F2B8BB573962}" dt="2024-10-15T07:27:06.400" v="691" actId="255"/>
        <pc:sldMkLst>
          <pc:docMk/>
          <pc:sldMk cId="1521177613" sldId="514"/>
        </pc:sldMkLst>
      </pc:sldChg>
      <pc:sldChg chg="modSp mod">
        <pc:chgData name="Reis, Guilherme" userId="c94ddd04-2f9e-416d-8540-ca621e33f065" providerId="ADAL" clId="{635ED719-95E7-4EDB-8D89-F2B8BB573962}" dt="2024-10-15T07:33:19.091" v="726" actId="313"/>
        <pc:sldMkLst>
          <pc:docMk/>
          <pc:sldMk cId="1012457884" sldId="527"/>
        </pc:sldMkLst>
      </pc:sldChg>
      <pc:sldChg chg="modSp mod modAnim">
        <pc:chgData name="Reis, Guilherme" userId="c94ddd04-2f9e-416d-8540-ca621e33f065" providerId="ADAL" clId="{635ED719-95E7-4EDB-8D89-F2B8BB573962}" dt="2024-10-15T07:30:54.829" v="697" actId="20577"/>
        <pc:sldMkLst>
          <pc:docMk/>
          <pc:sldMk cId="797031630" sldId="553"/>
        </pc:sldMkLst>
      </pc:sldChg>
      <pc:sldChg chg="modAnim">
        <pc:chgData name="Reis, Guilherme" userId="c94ddd04-2f9e-416d-8540-ca621e33f065" providerId="ADAL" clId="{635ED719-95E7-4EDB-8D89-F2B8BB573962}" dt="2024-10-11T14:24:39.205" v="24"/>
        <pc:sldMkLst>
          <pc:docMk/>
          <pc:sldMk cId="314829343" sldId="554"/>
        </pc:sldMkLst>
      </pc:sldChg>
      <pc:sldChg chg="addSp delSp modSp mod modAnim">
        <pc:chgData name="Reis, Guilherme" userId="c94ddd04-2f9e-416d-8540-ca621e33f065" providerId="ADAL" clId="{635ED719-95E7-4EDB-8D89-F2B8BB573962}" dt="2024-10-11T16:02:51.213" v="617"/>
        <pc:sldMkLst>
          <pc:docMk/>
          <pc:sldMk cId="532856962" sldId="555"/>
        </pc:sldMkLst>
      </pc:sldChg>
      <pc:sldChg chg="modSp modAnim">
        <pc:chgData name="Reis, Guilherme" userId="c94ddd04-2f9e-416d-8540-ca621e33f065" providerId="ADAL" clId="{635ED719-95E7-4EDB-8D89-F2B8BB573962}" dt="2024-10-15T07:35:31.907" v="783" actId="20577"/>
        <pc:sldMkLst>
          <pc:docMk/>
          <pc:sldMk cId="656085722" sldId="556"/>
        </pc:sldMkLst>
      </pc:sldChg>
      <pc:sldChg chg="addSp delSp modSp mod modAnim">
        <pc:chgData name="Reis, Guilherme" userId="c94ddd04-2f9e-416d-8540-ca621e33f065" providerId="ADAL" clId="{635ED719-95E7-4EDB-8D89-F2B8BB573962}" dt="2024-10-15T07:47:08.180" v="797" actId="21"/>
        <pc:sldMkLst>
          <pc:docMk/>
          <pc:sldMk cId="1781136139" sldId="557"/>
        </pc:sldMkLst>
      </pc:sldChg>
      <pc:sldChg chg="modSp mod modAnim">
        <pc:chgData name="Reis, Guilherme" userId="c94ddd04-2f9e-416d-8540-ca621e33f065" providerId="ADAL" clId="{635ED719-95E7-4EDB-8D89-F2B8BB573962}" dt="2024-10-15T07:47:50.431" v="828" actId="20577"/>
        <pc:sldMkLst>
          <pc:docMk/>
          <pc:sldMk cId="1847705742" sldId="558"/>
        </pc:sldMkLst>
      </pc:sldChg>
      <pc:sldChg chg="modSp mod">
        <pc:chgData name="Reis, Guilherme" userId="c94ddd04-2f9e-416d-8540-ca621e33f065" providerId="ADAL" clId="{635ED719-95E7-4EDB-8D89-F2B8BB573962}" dt="2024-10-15T07:33:24.187" v="738" actId="20577"/>
        <pc:sldMkLst>
          <pc:docMk/>
          <pc:sldMk cId="1905534790" sldId="559"/>
        </pc:sldMkLst>
      </pc:sldChg>
      <pc:sldChg chg="addSp delSp modSp mod delAnim modAnim">
        <pc:chgData name="Reis, Guilherme" userId="c94ddd04-2f9e-416d-8540-ca621e33f065" providerId="ADAL" clId="{635ED719-95E7-4EDB-8D89-F2B8BB573962}" dt="2024-10-15T07:42:27.641" v="789" actId="1076"/>
        <pc:sldMkLst>
          <pc:docMk/>
          <pc:sldMk cId="2415125685" sldId="560"/>
        </pc:sldMkLst>
      </pc:sldChg>
      <pc:sldChg chg="modSp mod modAnim">
        <pc:chgData name="Reis, Guilherme" userId="c94ddd04-2f9e-416d-8540-ca621e33f065" providerId="ADAL" clId="{635ED719-95E7-4EDB-8D89-F2B8BB573962}" dt="2024-10-11T14:50:50.594" v="458"/>
        <pc:sldMkLst>
          <pc:docMk/>
          <pc:sldMk cId="1531509137" sldId="561"/>
        </pc:sldMkLst>
      </pc:sldChg>
      <pc:sldChg chg="modSp mod modAnim">
        <pc:chgData name="Reis, Guilherme" userId="c94ddd04-2f9e-416d-8540-ca621e33f065" providerId="ADAL" clId="{635ED719-95E7-4EDB-8D89-F2B8BB573962}" dt="2024-10-11T14:51:09.417" v="460"/>
        <pc:sldMkLst>
          <pc:docMk/>
          <pc:sldMk cId="2456162941" sldId="562"/>
        </pc:sldMkLst>
      </pc:sldChg>
      <pc:sldChg chg="modSp mod modAnim">
        <pc:chgData name="Reis, Guilherme" userId="c94ddd04-2f9e-416d-8540-ca621e33f065" providerId="ADAL" clId="{635ED719-95E7-4EDB-8D89-F2B8BB573962}" dt="2024-10-11T16:11:02.326" v="631" actId="13822"/>
        <pc:sldMkLst>
          <pc:docMk/>
          <pc:sldMk cId="2339676445" sldId="563"/>
        </pc:sldMkLst>
      </pc:sldChg>
      <pc:sldChg chg="addSp modSp mod ord modAnim">
        <pc:chgData name="Reis, Guilherme" userId="c94ddd04-2f9e-416d-8540-ca621e33f065" providerId="ADAL" clId="{635ED719-95E7-4EDB-8D89-F2B8BB573962}" dt="2024-10-15T06:57:35.706" v="648"/>
        <pc:sldMkLst>
          <pc:docMk/>
          <pc:sldMk cId="1684232906" sldId="565"/>
        </pc:sldMkLst>
      </pc:sldChg>
      <pc:sldChg chg="modSp mod">
        <pc:chgData name="Reis, Guilherme" userId="c94ddd04-2f9e-416d-8540-ca621e33f065" providerId="ADAL" clId="{635ED719-95E7-4EDB-8D89-F2B8BB573962}" dt="2024-10-15T07:51:40.765" v="852" actId="20577"/>
        <pc:sldMkLst>
          <pc:docMk/>
          <pc:sldMk cId="92633487" sldId="566"/>
        </pc:sldMkLst>
      </pc:sldChg>
      <pc:sldChg chg="addSp delSp modSp add del mod">
        <pc:chgData name="Reis, Guilherme" userId="c94ddd04-2f9e-416d-8540-ca621e33f065" providerId="ADAL" clId="{635ED719-95E7-4EDB-8D89-F2B8BB573962}" dt="2024-10-11T14:22:18.395" v="13" actId="47"/>
        <pc:sldMkLst>
          <pc:docMk/>
          <pc:sldMk cId="711870215" sldId="567"/>
        </pc:sldMkLst>
      </pc:sldChg>
      <pc:sldChg chg="addSp delSp modSp add del mod">
        <pc:chgData name="Reis, Guilherme" userId="c94ddd04-2f9e-416d-8540-ca621e33f065" providerId="ADAL" clId="{635ED719-95E7-4EDB-8D89-F2B8BB573962}" dt="2024-10-11T14:44:29.243" v="371" actId="2890"/>
        <pc:sldMkLst>
          <pc:docMk/>
          <pc:sldMk cId="3133486373" sldId="567"/>
        </pc:sldMkLst>
      </pc:sldChg>
    </pc:docChg>
  </pc:docChgLst>
  <pc:docChgLst>
    <pc:chgData name="Petchimuthu, Deepak" userId="6f208555-eba7-40e3-86ed-994763cf54a8" providerId="ADAL" clId="{CC046638-4DC7-47D9-90C8-561F948350CE}"/>
    <pc:docChg chg="undo custSel addSld delSld modSld sldOrd modSection">
      <pc:chgData name="Petchimuthu, Deepak" userId="6f208555-eba7-40e3-86ed-994763cf54a8" providerId="ADAL" clId="{CC046638-4DC7-47D9-90C8-561F948350CE}" dt="2025-08-12T08:26:04.211" v="1779" actId="20577"/>
      <pc:docMkLst>
        <pc:docMk/>
      </pc:docMkLst>
      <pc:sldChg chg="modSp mod">
        <pc:chgData name="Petchimuthu, Deepak" userId="6f208555-eba7-40e3-86ed-994763cf54a8" providerId="ADAL" clId="{CC046638-4DC7-47D9-90C8-561F948350CE}" dt="2025-08-11T14:43:25.817" v="1754" actId="404"/>
        <pc:sldMkLst>
          <pc:docMk/>
          <pc:sldMk cId="1905633984" sldId="459"/>
        </pc:sldMkLst>
        <pc:spChg chg="mod">
          <ac:chgData name="Petchimuthu, Deepak" userId="6f208555-eba7-40e3-86ed-994763cf54a8" providerId="ADAL" clId="{CC046638-4DC7-47D9-90C8-561F948350CE}" dt="2025-08-11T14:43:25.817" v="1754" actId="404"/>
          <ac:spMkLst>
            <pc:docMk/>
            <pc:sldMk cId="1905633984" sldId="459"/>
            <ac:spMk id="10" creationId="{6D59E47C-64B8-4A75-516F-A5CB8A1C80D3}"/>
          </ac:spMkLst>
        </pc:spChg>
      </pc:sldChg>
      <pc:sldChg chg="del">
        <pc:chgData name="Petchimuthu, Deepak" userId="6f208555-eba7-40e3-86ed-994763cf54a8" providerId="ADAL" clId="{CC046638-4DC7-47D9-90C8-561F948350CE}" dt="2025-08-10T10:45:12.879" v="0" actId="47"/>
        <pc:sldMkLst>
          <pc:docMk/>
          <pc:sldMk cId="1521177613" sldId="514"/>
        </pc:sldMkLst>
      </pc:sldChg>
      <pc:sldChg chg="del">
        <pc:chgData name="Petchimuthu, Deepak" userId="6f208555-eba7-40e3-86ed-994763cf54a8" providerId="ADAL" clId="{CC046638-4DC7-47D9-90C8-561F948350CE}" dt="2025-08-11T12:35:17.106" v="1243" actId="2696"/>
        <pc:sldMkLst>
          <pc:docMk/>
          <pc:sldMk cId="92633487" sldId="566"/>
        </pc:sldMkLst>
      </pc:sldChg>
      <pc:sldChg chg="addSp delSp modSp mod">
        <pc:chgData name="Petchimuthu, Deepak" userId="6f208555-eba7-40e3-86ed-994763cf54a8" providerId="ADAL" clId="{CC046638-4DC7-47D9-90C8-561F948350CE}" dt="2025-08-11T10:48:49.320" v="448"/>
        <pc:sldMkLst>
          <pc:docMk/>
          <pc:sldMk cId="2662964487" sldId="567"/>
        </pc:sldMkLst>
        <pc:spChg chg="mod">
          <ac:chgData name="Petchimuthu, Deepak" userId="6f208555-eba7-40e3-86ed-994763cf54a8" providerId="ADAL" clId="{CC046638-4DC7-47D9-90C8-561F948350CE}" dt="2025-08-11T10:34:15.300" v="210" actId="20577"/>
          <ac:spMkLst>
            <pc:docMk/>
            <pc:sldMk cId="2662964487" sldId="567"/>
            <ac:spMk id="5" creationId="{8A8FCD50-8245-8281-98BE-7EBC81F8754A}"/>
          </ac:spMkLst>
        </pc:spChg>
        <pc:spChg chg="add mod">
          <ac:chgData name="Petchimuthu, Deepak" userId="6f208555-eba7-40e3-86ed-994763cf54a8" providerId="ADAL" clId="{CC046638-4DC7-47D9-90C8-561F948350CE}" dt="2025-08-11T10:48:44.547" v="445" actId="1076"/>
          <ac:spMkLst>
            <pc:docMk/>
            <pc:sldMk cId="2662964487" sldId="567"/>
            <ac:spMk id="11" creationId="{897C2E56-6F39-8B3B-8772-4298B2189DD8}"/>
          </ac:spMkLst>
        </pc:spChg>
        <pc:spChg chg="add mod">
          <ac:chgData name="Petchimuthu, Deepak" userId="6f208555-eba7-40e3-86ed-994763cf54a8" providerId="ADAL" clId="{CC046638-4DC7-47D9-90C8-561F948350CE}" dt="2025-08-11T10:48:49.320" v="448"/>
          <ac:spMkLst>
            <pc:docMk/>
            <pc:sldMk cId="2662964487" sldId="567"/>
            <ac:spMk id="12" creationId="{2AA46D1B-2AC0-66B3-5D91-047739931E88}"/>
          </ac:spMkLst>
        </pc:spChg>
        <pc:picChg chg="del mod">
          <ac:chgData name="Petchimuthu, Deepak" userId="6f208555-eba7-40e3-86ed-994763cf54a8" providerId="ADAL" clId="{CC046638-4DC7-47D9-90C8-561F948350CE}" dt="2025-08-11T10:41:26.007" v="211" actId="478"/>
          <ac:picMkLst>
            <pc:docMk/>
            <pc:sldMk cId="2662964487" sldId="567"/>
            <ac:picMk id="6" creationId="{B1AC4410-96C1-26E1-04F3-195B31350FAE}"/>
          </ac:picMkLst>
        </pc:picChg>
        <pc:picChg chg="add mod">
          <ac:chgData name="Petchimuthu, Deepak" userId="6f208555-eba7-40e3-86ed-994763cf54a8" providerId="ADAL" clId="{CC046638-4DC7-47D9-90C8-561F948350CE}" dt="2025-08-11T10:43:52.577" v="215" actId="1076"/>
          <ac:picMkLst>
            <pc:docMk/>
            <pc:sldMk cId="2662964487" sldId="567"/>
            <ac:picMk id="10" creationId="{6BEEDFC4-18EF-99B2-4EB0-8D46B588CB13}"/>
          </ac:picMkLst>
        </pc:picChg>
      </pc:sldChg>
      <pc:sldChg chg="addSp delSp modSp mod ord modAnim">
        <pc:chgData name="Petchimuthu, Deepak" userId="6f208555-eba7-40e3-86ed-994763cf54a8" providerId="ADAL" clId="{CC046638-4DC7-47D9-90C8-561F948350CE}" dt="2025-08-11T11:48:24.632" v="574"/>
        <pc:sldMkLst>
          <pc:docMk/>
          <pc:sldMk cId="1179350309" sldId="568"/>
        </pc:sldMkLst>
        <pc:spChg chg="mod">
          <ac:chgData name="Petchimuthu, Deepak" userId="6f208555-eba7-40e3-86ed-994763cf54a8" providerId="ADAL" clId="{CC046638-4DC7-47D9-90C8-561F948350CE}" dt="2025-08-10T10:46:18.297" v="7" actId="27636"/>
          <ac:spMkLst>
            <pc:docMk/>
            <pc:sldMk cId="1179350309" sldId="568"/>
            <ac:spMk id="2" creationId="{AD74521E-4568-56B3-572F-B1CF801FB325}"/>
          </ac:spMkLst>
        </pc:spChg>
        <pc:spChg chg="mod">
          <ac:chgData name="Petchimuthu, Deepak" userId="6f208555-eba7-40e3-86ed-994763cf54a8" providerId="ADAL" clId="{CC046638-4DC7-47D9-90C8-561F948350CE}" dt="2025-08-11T11:24:17.355" v="499" actId="20577"/>
          <ac:spMkLst>
            <pc:docMk/>
            <pc:sldMk cId="1179350309" sldId="568"/>
            <ac:spMk id="9" creationId="{F911BE74-4405-9219-3D74-BBC22DACE79B}"/>
          </ac:spMkLst>
        </pc:spChg>
        <pc:picChg chg="del mod modCrop">
          <ac:chgData name="Petchimuthu, Deepak" userId="6f208555-eba7-40e3-86ed-994763cf54a8" providerId="ADAL" clId="{CC046638-4DC7-47D9-90C8-561F948350CE}" dt="2025-08-11T11:18:38.194" v="450" actId="478"/>
          <ac:picMkLst>
            <pc:docMk/>
            <pc:sldMk cId="1179350309" sldId="568"/>
            <ac:picMk id="6" creationId="{84765A88-5C6C-243A-9D93-8B82D7314DAF}"/>
          </ac:picMkLst>
        </pc:picChg>
        <pc:picChg chg="add mod ord">
          <ac:chgData name="Petchimuthu, Deepak" userId="6f208555-eba7-40e3-86ed-994763cf54a8" providerId="ADAL" clId="{CC046638-4DC7-47D9-90C8-561F948350CE}" dt="2025-08-11T11:21:27.593" v="458" actId="167"/>
          <ac:picMkLst>
            <pc:docMk/>
            <pc:sldMk cId="1179350309" sldId="568"/>
            <ac:picMk id="10" creationId="{C68E2742-7460-C89A-2FF0-926501690DC2}"/>
          </ac:picMkLst>
        </pc:picChg>
      </pc:sldChg>
      <pc:sldChg chg="addSp modSp mod ord">
        <pc:chgData name="Petchimuthu, Deepak" userId="6f208555-eba7-40e3-86ed-994763cf54a8" providerId="ADAL" clId="{CC046638-4DC7-47D9-90C8-561F948350CE}" dt="2025-08-11T20:01:56.304" v="1778" actId="208"/>
        <pc:sldMkLst>
          <pc:docMk/>
          <pc:sldMk cId="3249783667" sldId="569"/>
        </pc:sldMkLst>
        <pc:spChg chg="add">
          <ac:chgData name="Petchimuthu, Deepak" userId="6f208555-eba7-40e3-86ed-994763cf54a8" providerId="ADAL" clId="{CC046638-4DC7-47D9-90C8-561F948350CE}" dt="2025-08-11T11:39:02.673" v="530"/>
          <ac:spMkLst>
            <pc:docMk/>
            <pc:sldMk cId="3249783667" sldId="569"/>
            <ac:spMk id="5" creationId="{DD62258E-6B2E-D07C-46BE-C6D8943C98A3}"/>
          </ac:spMkLst>
        </pc:spChg>
        <pc:spChg chg="mod">
          <ac:chgData name="Petchimuthu, Deepak" userId="6f208555-eba7-40e3-86ed-994763cf54a8" providerId="ADAL" clId="{CC046638-4DC7-47D9-90C8-561F948350CE}" dt="2025-08-11T19:51:30.908" v="1755" actId="21"/>
          <ac:spMkLst>
            <pc:docMk/>
            <pc:sldMk cId="3249783667" sldId="569"/>
            <ac:spMk id="12" creationId="{590058B8-113D-8B98-760F-366A961D11AD}"/>
          </ac:spMkLst>
        </pc:spChg>
        <pc:picChg chg="add mod">
          <ac:chgData name="Petchimuthu, Deepak" userId="6f208555-eba7-40e3-86ed-994763cf54a8" providerId="ADAL" clId="{CC046638-4DC7-47D9-90C8-561F948350CE}" dt="2025-08-11T20:01:34.905" v="1775" actId="1076"/>
          <ac:picMkLst>
            <pc:docMk/>
            <pc:sldMk cId="3249783667" sldId="569"/>
            <ac:picMk id="6" creationId="{6BDF0B7C-1794-526B-66BD-9124233F7551}"/>
          </ac:picMkLst>
        </pc:picChg>
        <pc:picChg chg="add mod">
          <ac:chgData name="Petchimuthu, Deepak" userId="6f208555-eba7-40e3-86ed-994763cf54a8" providerId="ADAL" clId="{CC046638-4DC7-47D9-90C8-561F948350CE}" dt="2025-08-11T20:01:36.742" v="1776" actId="1076"/>
          <ac:picMkLst>
            <pc:docMk/>
            <pc:sldMk cId="3249783667" sldId="569"/>
            <ac:picMk id="9" creationId="{B948C83E-87E0-EBC5-F48D-B3B23F1C0AA5}"/>
          </ac:picMkLst>
        </pc:picChg>
        <pc:cxnChg chg="add mod">
          <ac:chgData name="Petchimuthu, Deepak" userId="6f208555-eba7-40e3-86ed-994763cf54a8" providerId="ADAL" clId="{CC046638-4DC7-47D9-90C8-561F948350CE}" dt="2025-08-11T20:01:56.304" v="1778" actId="208"/>
          <ac:cxnSpMkLst>
            <pc:docMk/>
            <pc:sldMk cId="3249783667" sldId="569"/>
            <ac:cxnSpMk id="11" creationId="{AE458D99-A6CD-84F1-8CA9-347351592B18}"/>
          </ac:cxnSpMkLst>
        </pc:cxnChg>
      </pc:sldChg>
      <pc:sldChg chg="addSp delSp modSp mod modClrScheme chgLayout">
        <pc:chgData name="Petchimuthu, Deepak" userId="6f208555-eba7-40e3-86ed-994763cf54a8" providerId="ADAL" clId="{CC046638-4DC7-47D9-90C8-561F948350CE}" dt="2025-08-11T12:54:23.479" v="1340" actId="2710"/>
        <pc:sldMkLst>
          <pc:docMk/>
          <pc:sldMk cId="3887303611" sldId="570"/>
        </pc:sldMkLst>
        <pc:spChg chg="mod">
          <ac:chgData name="Petchimuthu, Deepak" userId="6f208555-eba7-40e3-86ed-994763cf54a8" providerId="ADAL" clId="{CC046638-4DC7-47D9-90C8-561F948350CE}" dt="2025-08-10T11:03:47.825" v="60" actId="26606"/>
          <ac:spMkLst>
            <pc:docMk/>
            <pc:sldMk cId="3887303611" sldId="570"/>
            <ac:spMk id="2" creationId="{BF7898C0-1337-05CB-1471-F81D480F1DE8}"/>
          </ac:spMkLst>
        </pc:spChg>
        <pc:spChg chg="mod">
          <ac:chgData name="Petchimuthu, Deepak" userId="6f208555-eba7-40e3-86ed-994763cf54a8" providerId="ADAL" clId="{CC046638-4DC7-47D9-90C8-561F948350CE}" dt="2025-08-10T11:03:47.825" v="60" actId="26606"/>
          <ac:spMkLst>
            <pc:docMk/>
            <pc:sldMk cId="3887303611" sldId="570"/>
            <ac:spMk id="3" creationId="{04A0DF23-098F-60CB-C0BC-6624F99A8CA7}"/>
          </ac:spMkLst>
        </pc:spChg>
        <pc:spChg chg="mod">
          <ac:chgData name="Petchimuthu, Deepak" userId="6f208555-eba7-40e3-86ed-994763cf54a8" providerId="ADAL" clId="{CC046638-4DC7-47D9-90C8-561F948350CE}" dt="2025-08-10T11:03:47.825" v="60" actId="26606"/>
          <ac:spMkLst>
            <pc:docMk/>
            <pc:sldMk cId="3887303611" sldId="570"/>
            <ac:spMk id="4" creationId="{C00339EB-B0AC-B320-F37D-F65E41DDB627}"/>
          </ac:spMkLst>
        </pc:spChg>
        <pc:spChg chg="mod ord">
          <ac:chgData name="Petchimuthu, Deepak" userId="6f208555-eba7-40e3-86ed-994763cf54a8" providerId="ADAL" clId="{CC046638-4DC7-47D9-90C8-561F948350CE}" dt="2025-08-11T12:27:23.356" v="1104" actId="313"/>
          <ac:spMkLst>
            <pc:docMk/>
            <pc:sldMk cId="3887303611" sldId="570"/>
            <ac:spMk id="7" creationId="{3826F9B7-512B-A3B9-FFBC-EA7AEC0F1702}"/>
          </ac:spMkLst>
        </pc:spChg>
        <pc:spChg chg="mod ord">
          <ac:chgData name="Petchimuthu, Deepak" userId="6f208555-eba7-40e3-86ed-994763cf54a8" providerId="ADAL" clId="{CC046638-4DC7-47D9-90C8-561F948350CE}" dt="2025-08-11T12:27:43.319" v="1142" actId="20577"/>
          <ac:spMkLst>
            <pc:docMk/>
            <pc:sldMk cId="3887303611" sldId="570"/>
            <ac:spMk id="8" creationId="{91A21E9E-9C16-BA04-1C1E-2A5204DBBE55}"/>
          </ac:spMkLst>
        </pc:spChg>
        <pc:spChg chg="add">
          <ac:chgData name="Petchimuthu, Deepak" userId="6f208555-eba7-40e3-86ed-994763cf54a8" providerId="ADAL" clId="{CC046638-4DC7-47D9-90C8-561F948350CE}" dt="2025-08-11T12:53:37.055" v="1330"/>
          <ac:spMkLst>
            <pc:docMk/>
            <pc:sldMk cId="3887303611" sldId="570"/>
            <ac:spMk id="9" creationId="{E0FAF437-91D5-D04A-5FA8-67F4F0031421}"/>
          </ac:spMkLst>
        </pc:spChg>
        <pc:spChg chg="mod">
          <ac:chgData name="Petchimuthu, Deepak" userId="6f208555-eba7-40e3-86ed-994763cf54a8" providerId="ADAL" clId="{CC046638-4DC7-47D9-90C8-561F948350CE}" dt="2025-08-11T12:54:23.479" v="1340" actId="2710"/>
          <ac:spMkLst>
            <pc:docMk/>
            <pc:sldMk cId="3887303611" sldId="570"/>
            <ac:spMk id="10" creationId="{AC16AE55-11E0-6CD4-AA74-BD2D696F59B7}"/>
          </ac:spMkLst>
        </pc:spChg>
        <pc:picChg chg="add mod">
          <ac:chgData name="Petchimuthu, Deepak" userId="6f208555-eba7-40e3-86ed-994763cf54a8" providerId="ADAL" clId="{CC046638-4DC7-47D9-90C8-561F948350CE}" dt="2025-08-11T12:21:13.026" v="971" actId="1076"/>
          <ac:picMkLst>
            <pc:docMk/>
            <pc:sldMk cId="3887303611" sldId="570"/>
            <ac:picMk id="5" creationId="{50B6E50C-FC22-077B-3DE6-3DFFD35956F7}"/>
          </ac:picMkLst>
        </pc:picChg>
        <pc:picChg chg="add del mod">
          <ac:chgData name="Petchimuthu, Deepak" userId="6f208555-eba7-40e3-86ed-994763cf54a8" providerId="ADAL" clId="{CC046638-4DC7-47D9-90C8-561F948350CE}" dt="2025-08-11T12:19:54.775" v="911" actId="21"/>
          <ac:picMkLst>
            <pc:docMk/>
            <pc:sldMk cId="3887303611" sldId="570"/>
            <ac:picMk id="6" creationId="{7100F503-E552-4F80-232E-E30CC9DF188B}"/>
          </ac:picMkLst>
        </pc:picChg>
      </pc:sldChg>
      <pc:sldChg chg="addSp delSp modSp mod ord">
        <pc:chgData name="Petchimuthu, Deepak" userId="6f208555-eba7-40e3-86ed-994763cf54a8" providerId="ADAL" clId="{CC046638-4DC7-47D9-90C8-561F948350CE}" dt="2025-08-11T12:51:41.322" v="1328" actId="14100"/>
        <pc:sldMkLst>
          <pc:docMk/>
          <pc:sldMk cId="2265236705" sldId="572"/>
        </pc:sldMkLst>
        <pc:spChg chg="del">
          <ac:chgData name="Petchimuthu, Deepak" userId="6f208555-eba7-40e3-86ed-994763cf54a8" providerId="ADAL" clId="{CC046638-4DC7-47D9-90C8-561F948350CE}" dt="2025-08-11T12:14:37.334" v="891" actId="478"/>
          <ac:spMkLst>
            <pc:docMk/>
            <pc:sldMk cId="2265236705" sldId="572"/>
            <ac:spMk id="6" creationId="{890C88A3-D829-1A3F-2B5D-63756B561780}"/>
          </ac:spMkLst>
        </pc:spChg>
        <pc:spChg chg="mod">
          <ac:chgData name="Petchimuthu, Deepak" userId="6f208555-eba7-40e3-86ed-994763cf54a8" providerId="ADAL" clId="{CC046638-4DC7-47D9-90C8-561F948350CE}" dt="2025-08-11T12:20:19.722" v="927" actId="20577"/>
          <ac:spMkLst>
            <pc:docMk/>
            <pc:sldMk cId="2265236705" sldId="572"/>
            <ac:spMk id="7" creationId="{8B05EE74-CE0E-3207-341B-7DCB93C0E9EF}"/>
          </ac:spMkLst>
        </pc:spChg>
        <pc:spChg chg="del mod">
          <ac:chgData name="Petchimuthu, Deepak" userId="6f208555-eba7-40e3-86ed-994763cf54a8" providerId="ADAL" clId="{CC046638-4DC7-47D9-90C8-561F948350CE}" dt="2025-08-11T12:18:55.897" v="907" actId="478"/>
          <ac:spMkLst>
            <pc:docMk/>
            <pc:sldMk cId="2265236705" sldId="572"/>
            <ac:spMk id="8" creationId="{B4FB138F-0CF8-0C85-9EF0-B0714376FDD3}"/>
          </ac:spMkLst>
        </pc:spChg>
        <pc:spChg chg="add del mod">
          <ac:chgData name="Petchimuthu, Deepak" userId="6f208555-eba7-40e3-86ed-994763cf54a8" providerId="ADAL" clId="{CC046638-4DC7-47D9-90C8-561F948350CE}" dt="2025-08-11T12:51:27.911" v="1327" actId="20577"/>
          <ac:spMkLst>
            <pc:docMk/>
            <pc:sldMk cId="2265236705" sldId="572"/>
            <ac:spMk id="16" creationId="{A30F5F51-F836-06DB-A0D1-D7F2AA95E42F}"/>
          </ac:spMkLst>
        </pc:spChg>
        <pc:spChg chg="add del mod">
          <ac:chgData name="Petchimuthu, Deepak" userId="6f208555-eba7-40e3-86ed-994763cf54a8" providerId="ADAL" clId="{CC046638-4DC7-47D9-90C8-561F948350CE}" dt="2025-08-11T12:50:39.113" v="1292" actId="478"/>
          <ac:spMkLst>
            <pc:docMk/>
            <pc:sldMk cId="2265236705" sldId="572"/>
            <ac:spMk id="17" creationId="{2756E2DD-238D-4CFB-7A2B-421B73B31447}"/>
          </ac:spMkLst>
        </pc:spChg>
        <pc:spChg chg="add">
          <ac:chgData name="Petchimuthu, Deepak" userId="6f208555-eba7-40e3-86ed-994763cf54a8" providerId="ADAL" clId="{CC046638-4DC7-47D9-90C8-561F948350CE}" dt="2025-08-11T12:50:50.524" v="1294"/>
          <ac:spMkLst>
            <pc:docMk/>
            <pc:sldMk cId="2265236705" sldId="572"/>
            <ac:spMk id="18" creationId="{AB2DFD91-59AF-1018-FEB2-28E31B512E26}"/>
          </ac:spMkLst>
        </pc:spChg>
        <pc:picChg chg="add del mod ord">
          <ac:chgData name="Petchimuthu, Deepak" userId="6f208555-eba7-40e3-86ed-994763cf54a8" providerId="ADAL" clId="{CC046638-4DC7-47D9-90C8-561F948350CE}" dt="2025-08-11T12:51:41.322" v="1328" actId="14100"/>
          <ac:picMkLst>
            <pc:docMk/>
            <pc:sldMk cId="2265236705" sldId="572"/>
            <ac:picMk id="9" creationId="{64B3BB9E-1C48-3E41-F012-924DA7A060AC}"/>
          </ac:picMkLst>
        </pc:picChg>
        <pc:picChg chg="add del mod">
          <ac:chgData name="Petchimuthu, Deepak" userId="6f208555-eba7-40e3-86ed-994763cf54a8" providerId="ADAL" clId="{CC046638-4DC7-47D9-90C8-561F948350CE}" dt="2025-08-11T12:20:03.108" v="917" actId="478"/>
          <ac:picMkLst>
            <pc:docMk/>
            <pc:sldMk cId="2265236705" sldId="572"/>
            <ac:picMk id="11" creationId="{C016BC10-A1A3-BBB7-5238-76E68DA66978}"/>
          </ac:picMkLst>
        </pc:picChg>
        <pc:picChg chg="add mod">
          <ac:chgData name="Petchimuthu, Deepak" userId="6f208555-eba7-40e3-86ed-994763cf54a8" providerId="ADAL" clId="{CC046638-4DC7-47D9-90C8-561F948350CE}" dt="2025-08-11T12:20:01.162" v="915"/>
          <ac:picMkLst>
            <pc:docMk/>
            <pc:sldMk cId="2265236705" sldId="572"/>
            <ac:picMk id="15" creationId="{7100F503-E552-4F80-232E-E30CC9DF188B}"/>
          </ac:picMkLst>
        </pc:picChg>
        <pc:cxnChg chg="add del mod">
          <ac:chgData name="Petchimuthu, Deepak" userId="6f208555-eba7-40e3-86ed-994763cf54a8" providerId="ADAL" clId="{CC046638-4DC7-47D9-90C8-561F948350CE}" dt="2025-08-11T12:20:02.674" v="916" actId="478"/>
          <ac:cxnSpMkLst>
            <pc:docMk/>
            <pc:sldMk cId="2265236705" sldId="572"/>
            <ac:cxnSpMk id="13" creationId="{DA42D509-EF99-DE3D-E909-2BB17D8B6754}"/>
          </ac:cxnSpMkLst>
        </pc:cxnChg>
      </pc:sldChg>
      <pc:sldChg chg="addSp delSp modSp mod ord">
        <pc:chgData name="Petchimuthu, Deepak" userId="6f208555-eba7-40e3-86ed-994763cf54a8" providerId="ADAL" clId="{CC046638-4DC7-47D9-90C8-561F948350CE}" dt="2025-08-11T12:33:37.548" v="1185"/>
        <pc:sldMkLst>
          <pc:docMk/>
          <pc:sldMk cId="2939236652" sldId="574"/>
        </pc:sldMkLst>
        <pc:spChg chg="mod">
          <ac:chgData name="Petchimuthu, Deepak" userId="6f208555-eba7-40e3-86ed-994763cf54a8" providerId="ADAL" clId="{CC046638-4DC7-47D9-90C8-561F948350CE}" dt="2025-08-11T12:22:05.245" v="998" actId="20577"/>
          <ac:spMkLst>
            <pc:docMk/>
            <pc:sldMk cId="2939236652" sldId="574"/>
            <ac:spMk id="7" creationId="{B0358AF5-D79C-DEEF-FB6B-9DE50F3B3831}"/>
          </ac:spMkLst>
        </pc:spChg>
        <pc:spChg chg="mod">
          <ac:chgData name="Petchimuthu, Deepak" userId="6f208555-eba7-40e3-86ed-994763cf54a8" providerId="ADAL" clId="{CC046638-4DC7-47D9-90C8-561F948350CE}" dt="2025-08-11T12:32:59.819" v="1179" actId="20577"/>
          <ac:spMkLst>
            <pc:docMk/>
            <pc:sldMk cId="2939236652" sldId="574"/>
            <ac:spMk id="8" creationId="{F6316560-5B82-0E4D-2545-AC4868AF6AB1}"/>
          </ac:spMkLst>
        </pc:spChg>
        <pc:spChg chg="del mod">
          <ac:chgData name="Petchimuthu, Deepak" userId="6f208555-eba7-40e3-86ed-994763cf54a8" providerId="ADAL" clId="{CC046638-4DC7-47D9-90C8-561F948350CE}" dt="2025-08-11T12:32:44.032" v="1151" actId="478"/>
          <ac:spMkLst>
            <pc:docMk/>
            <pc:sldMk cId="2939236652" sldId="574"/>
            <ac:spMk id="9" creationId="{99914965-8ABD-7561-6FC1-679077DF1D2A}"/>
          </ac:spMkLst>
        </pc:spChg>
        <pc:graphicFrameChg chg="add mod modGraphic">
          <ac:chgData name="Petchimuthu, Deepak" userId="6f208555-eba7-40e3-86ed-994763cf54a8" providerId="ADAL" clId="{CC046638-4DC7-47D9-90C8-561F948350CE}" dt="2025-08-11T12:33:37.548" v="1185"/>
          <ac:graphicFrameMkLst>
            <pc:docMk/>
            <pc:sldMk cId="2939236652" sldId="574"/>
            <ac:graphicFrameMk id="5" creationId="{D4E35790-3D36-B96D-3260-565C1AE6F1A0}"/>
          </ac:graphicFrameMkLst>
        </pc:graphicFrameChg>
      </pc:sldChg>
      <pc:sldChg chg="addSp delSp modSp mod">
        <pc:chgData name="Petchimuthu, Deepak" userId="6f208555-eba7-40e3-86ed-994763cf54a8" providerId="ADAL" clId="{CC046638-4DC7-47D9-90C8-561F948350CE}" dt="2025-08-11T19:56:01.488" v="1765" actId="22"/>
        <pc:sldMkLst>
          <pc:docMk/>
          <pc:sldMk cId="3607517346" sldId="575"/>
        </pc:sldMkLst>
        <pc:spChg chg="mod">
          <ac:chgData name="Petchimuthu, Deepak" userId="6f208555-eba7-40e3-86ed-994763cf54a8" providerId="ADAL" clId="{CC046638-4DC7-47D9-90C8-561F948350CE}" dt="2025-08-11T14:35:35.357" v="1461" actId="20577"/>
          <ac:spMkLst>
            <pc:docMk/>
            <pc:sldMk cId="3607517346" sldId="575"/>
            <ac:spMk id="7" creationId="{3918809D-D10E-02BA-FE88-947BA1728414}"/>
          </ac:spMkLst>
        </pc:spChg>
        <pc:spChg chg="del">
          <ac:chgData name="Petchimuthu, Deepak" userId="6f208555-eba7-40e3-86ed-994763cf54a8" providerId="ADAL" clId="{CC046638-4DC7-47D9-90C8-561F948350CE}" dt="2025-08-11T12:34:47.438" v="1225" actId="478"/>
          <ac:spMkLst>
            <pc:docMk/>
            <pc:sldMk cId="3607517346" sldId="575"/>
            <ac:spMk id="8" creationId="{92CBE5E6-14BA-1CB2-CE54-4D4D89C54C95}"/>
          </ac:spMkLst>
        </pc:spChg>
        <pc:spChg chg="del">
          <ac:chgData name="Petchimuthu, Deepak" userId="6f208555-eba7-40e3-86ed-994763cf54a8" providerId="ADAL" clId="{CC046638-4DC7-47D9-90C8-561F948350CE}" dt="2025-08-11T12:34:39.484" v="1223" actId="478"/>
          <ac:spMkLst>
            <pc:docMk/>
            <pc:sldMk cId="3607517346" sldId="575"/>
            <ac:spMk id="11" creationId="{0E33DC1F-9CDC-B175-E882-40CB17778375}"/>
          </ac:spMkLst>
        </pc:spChg>
        <pc:picChg chg="add del mod">
          <ac:chgData name="Petchimuthu, Deepak" userId="6f208555-eba7-40e3-86ed-994763cf54a8" providerId="ADAL" clId="{CC046638-4DC7-47D9-90C8-561F948350CE}" dt="2025-08-11T19:56:00.160" v="1764" actId="478"/>
          <ac:picMkLst>
            <pc:docMk/>
            <pc:sldMk cId="3607517346" sldId="575"/>
            <ac:picMk id="6" creationId="{F80D2D6C-6795-C273-5140-006A6175F9CD}"/>
          </ac:picMkLst>
        </pc:picChg>
        <pc:picChg chg="add">
          <ac:chgData name="Petchimuthu, Deepak" userId="6f208555-eba7-40e3-86ed-994763cf54a8" providerId="ADAL" clId="{CC046638-4DC7-47D9-90C8-561F948350CE}" dt="2025-08-11T19:56:01.488" v="1765" actId="22"/>
          <ac:picMkLst>
            <pc:docMk/>
            <pc:sldMk cId="3607517346" sldId="575"/>
            <ac:picMk id="8" creationId="{1FEE522A-08CC-3A35-BA20-6294B95B116F}"/>
          </ac:picMkLst>
        </pc:picChg>
        <pc:picChg chg="del">
          <ac:chgData name="Petchimuthu, Deepak" userId="6f208555-eba7-40e3-86ed-994763cf54a8" providerId="ADAL" clId="{CC046638-4DC7-47D9-90C8-561F948350CE}" dt="2025-08-11T12:34:00.134" v="1218" actId="478"/>
          <ac:picMkLst>
            <pc:docMk/>
            <pc:sldMk cId="3607517346" sldId="575"/>
            <ac:picMk id="13" creationId="{06EBDDC0-368F-87EF-7C52-A74CEE717F98}"/>
          </ac:picMkLst>
        </pc:picChg>
      </pc:sldChg>
      <pc:sldChg chg="del">
        <pc:chgData name="Petchimuthu, Deepak" userId="6f208555-eba7-40e3-86ed-994763cf54a8" providerId="ADAL" clId="{CC046638-4DC7-47D9-90C8-561F948350CE}" dt="2025-08-10T11:04:04.502" v="64" actId="47"/>
        <pc:sldMkLst>
          <pc:docMk/>
          <pc:sldMk cId="2298508615" sldId="577"/>
        </pc:sldMkLst>
      </pc:sldChg>
      <pc:sldChg chg="addSp delSp modSp mod modClrScheme addAnim delAnim modAnim chgLayout">
        <pc:chgData name="Petchimuthu, Deepak" userId="6f208555-eba7-40e3-86ed-994763cf54a8" providerId="ADAL" clId="{CC046638-4DC7-47D9-90C8-561F948350CE}" dt="2025-08-12T08:26:04.211" v="1779" actId="20577"/>
        <pc:sldMkLst>
          <pc:docMk/>
          <pc:sldMk cId="3342580150" sldId="578"/>
        </pc:sldMkLst>
        <pc:spChg chg="mod">
          <ac:chgData name="Petchimuthu, Deepak" userId="6f208555-eba7-40e3-86ed-994763cf54a8" providerId="ADAL" clId="{CC046638-4DC7-47D9-90C8-561F948350CE}" dt="2025-08-11T11:49:26.479" v="579" actId="26606"/>
          <ac:spMkLst>
            <pc:docMk/>
            <pc:sldMk cId="3342580150" sldId="578"/>
            <ac:spMk id="2" creationId="{E787770C-F3E2-B783-5D86-4F6F1C47895A}"/>
          </ac:spMkLst>
        </pc:spChg>
        <pc:spChg chg="mod">
          <ac:chgData name="Petchimuthu, Deepak" userId="6f208555-eba7-40e3-86ed-994763cf54a8" providerId="ADAL" clId="{CC046638-4DC7-47D9-90C8-561F948350CE}" dt="2025-08-11T11:49:26.479" v="579" actId="26606"/>
          <ac:spMkLst>
            <pc:docMk/>
            <pc:sldMk cId="3342580150" sldId="578"/>
            <ac:spMk id="3" creationId="{3B103FB6-070F-009B-6779-93CFFC700AAD}"/>
          </ac:spMkLst>
        </pc:spChg>
        <pc:spChg chg="mod">
          <ac:chgData name="Petchimuthu, Deepak" userId="6f208555-eba7-40e3-86ed-994763cf54a8" providerId="ADAL" clId="{CC046638-4DC7-47D9-90C8-561F948350CE}" dt="2025-08-11T11:49:26.479" v="579" actId="26606"/>
          <ac:spMkLst>
            <pc:docMk/>
            <pc:sldMk cId="3342580150" sldId="578"/>
            <ac:spMk id="4" creationId="{943D58FE-AD34-0D1D-DA06-8E6382B02C31}"/>
          </ac:spMkLst>
        </pc:spChg>
        <pc:spChg chg="add del mod">
          <ac:chgData name="Petchimuthu, Deepak" userId="6f208555-eba7-40e3-86ed-994763cf54a8" providerId="ADAL" clId="{CC046638-4DC7-47D9-90C8-561F948350CE}" dt="2025-08-12T08:26:04.211" v="1779" actId="20577"/>
          <ac:spMkLst>
            <pc:docMk/>
            <pc:sldMk cId="3342580150" sldId="578"/>
            <ac:spMk id="5" creationId="{59E06A66-18CC-9B28-B16B-CE8E86315409}"/>
          </ac:spMkLst>
        </pc:spChg>
        <pc:spChg chg="mod ord">
          <ac:chgData name="Petchimuthu, Deepak" userId="6f208555-eba7-40e3-86ed-994763cf54a8" providerId="ADAL" clId="{CC046638-4DC7-47D9-90C8-561F948350CE}" dt="2025-08-11T12:23:09.158" v="1040" actId="313"/>
          <ac:spMkLst>
            <pc:docMk/>
            <pc:sldMk cId="3342580150" sldId="578"/>
            <ac:spMk id="7" creationId="{29B44B2C-A076-4A40-FE7F-9212E22CDE82}"/>
          </ac:spMkLst>
        </pc:spChg>
        <pc:spChg chg="mod ord">
          <ac:chgData name="Petchimuthu, Deepak" userId="6f208555-eba7-40e3-86ed-994763cf54a8" providerId="ADAL" clId="{CC046638-4DC7-47D9-90C8-561F948350CE}" dt="2025-08-11T11:53:04.815" v="775" actId="20577"/>
          <ac:spMkLst>
            <pc:docMk/>
            <pc:sldMk cId="3342580150" sldId="578"/>
            <ac:spMk id="8" creationId="{00EF2DBC-14F8-B59A-AEE1-BBA5A4EDA56B}"/>
          </ac:spMkLst>
        </pc:spChg>
        <pc:spChg chg="del">
          <ac:chgData name="Petchimuthu, Deepak" userId="6f208555-eba7-40e3-86ed-994763cf54a8" providerId="ADAL" clId="{CC046638-4DC7-47D9-90C8-561F948350CE}" dt="2025-08-11T11:41:47.005" v="572" actId="478"/>
          <ac:spMkLst>
            <pc:docMk/>
            <pc:sldMk cId="3342580150" sldId="578"/>
            <ac:spMk id="12" creationId="{69E9B981-7B73-2B1E-721A-772548F61EFC}"/>
          </ac:spMkLst>
        </pc:spChg>
        <pc:picChg chg="add mod ord">
          <ac:chgData name="Petchimuthu, Deepak" userId="6f208555-eba7-40e3-86ed-994763cf54a8" providerId="ADAL" clId="{CC046638-4DC7-47D9-90C8-561F948350CE}" dt="2025-08-11T11:53:14.662" v="776" actId="14100"/>
          <ac:picMkLst>
            <pc:docMk/>
            <pc:sldMk cId="3342580150" sldId="578"/>
            <ac:picMk id="2050" creationId="{C4992E06-DDF1-B402-9219-C3D89E97A08F}"/>
          </ac:picMkLst>
        </pc:picChg>
      </pc:sldChg>
      <pc:sldChg chg="add del">
        <pc:chgData name="Petchimuthu, Deepak" userId="6f208555-eba7-40e3-86ed-994763cf54a8" providerId="ADAL" clId="{CC046638-4DC7-47D9-90C8-561F948350CE}" dt="2025-08-11T12:35:11.438" v="1242" actId="2696"/>
        <pc:sldMkLst>
          <pc:docMk/>
          <pc:sldMk cId="1096038393" sldId="579"/>
        </pc:sldMkLst>
      </pc:sldChg>
      <pc:sldChg chg="addSp delSp modSp add mod">
        <pc:chgData name="Petchimuthu, Deepak" userId="6f208555-eba7-40e3-86ed-994763cf54a8" providerId="ADAL" clId="{CC046638-4DC7-47D9-90C8-561F948350CE}" dt="2025-08-11T13:02:55.004" v="1437" actId="2710"/>
        <pc:sldMkLst>
          <pc:docMk/>
          <pc:sldMk cId="3002017006" sldId="579"/>
        </pc:sldMkLst>
        <pc:spChg chg="mod">
          <ac:chgData name="Petchimuthu, Deepak" userId="6f208555-eba7-40e3-86ed-994763cf54a8" providerId="ADAL" clId="{CC046638-4DC7-47D9-90C8-561F948350CE}" dt="2025-08-11T12:55:20.254" v="1389" actId="20577"/>
          <ac:spMkLst>
            <pc:docMk/>
            <pc:sldMk cId="3002017006" sldId="579"/>
            <ac:spMk id="7" creationId="{679625BD-CB57-325C-296C-CAC45AE9AF30}"/>
          </ac:spMkLst>
        </pc:spChg>
        <pc:spChg chg="mod">
          <ac:chgData name="Petchimuthu, Deepak" userId="6f208555-eba7-40e3-86ed-994763cf54a8" providerId="ADAL" clId="{CC046638-4DC7-47D9-90C8-561F948350CE}" dt="2025-08-11T13:02:55.004" v="1437" actId="2710"/>
          <ac:spMkLst>
            <pc:docMk/>
            <pc:sldMk cId="3002017006" sldId="579"/>
            <ac:spMk id="16" creationId="{B56FFB24-8C09-34F4-ED79-A971574BB227}"/>
          </ac:spMkLst>
        </pc:spChg>
        <pc:picChg chg="add mod ord">
          <ac:chgData name="Petchimuthu, Deepak" userId="6f208555-eba7-40e3-86ed-994763cf54a8" providerId="ADAL" clId="{CC046638-4DC7-47D9-90C8-561F948350CE}" dt="2025-08-11T12:57:40.781" v="1411" actId="1076"/>
          <ac:picMkLst>
            <pc:docMk/>
            <pc:sldMk cId="3002017006" sldId="579"/>
            <ac:picMk id="6" creationId="{467D9AB8-E748-57D1-2551-A6B7AA4386C7}"/>
          </ac:picMkLst>
        </pc:picChg>
        <pc:picChg chg="del">
          <ac:chgData name="Petchimuthu, Deepak" userId="6f208555-eba7-40e3-86ed-994763cf54a8" providerId="ADAL" clId="{CC046638-4DC7-47D9-90C8-561F948350CE}" dt="2025-08-11T12:56:37.455" v="1390" actId="478"/>
          <ac:picMkLst>
            <pc:docMk/>
            <pc:sldMk cId="3002017006" sldId="579"/>
            <ac:picMk id="9" creationId="{8419BB46-F271-D297-37D3-C92F63DE4DF3}"/>
          </ac:picMkLst>
        </pc:picChg>
        <pc:picChg chg="add mod ord">
          <ac:chgData name="Petchimuthu, Deepak" userId="6f208555-eba7-40e3-86ed-994763cf54a8" providerId="ADAL" clId="{CC046638-4DC7-47D9-90C8-561F948350CE}" dt="2025-08-11T12:57:52.440" v="1418" actId="167"/>
          <ac:picMkLst>
            <pc:docMk/>
            <pc:sldMk cId="3002017006" sldId="579"/>
            <ac:picMk id="10" creationId="{A288F0B1-490D-2C17-40A2-4FF42E5DEB74}"/>
          </ac:picMkLst>
        </pc:picChg>
        <pc:picChg chg="del">
          <ac:chgData name="Petchimuthu, Deepak" userId="6f208555-eba7-40e3-86ed-994763cf54a8" providerId="ADAL" clId="{CC046638-4DC7-47D9-90C8-561F948350CE}" dt="2025-08-11T12:56:38.971" v="1391" actId="478"/>
          <ac:picMkLst>
            <pc:docMk/>
            <pc:sldMk cId="3002017006" sldId="579"/>
            <ac:picMk id="11" creationId="{5EE563D0-ABC1-D85F-9C2A-0F3AA20911D9}"/>
          </ac:picMkLst>
        </pc:picChg>
        <pc:cxnChg chg="mod">
          <ac:chgData name="Petchimuthu, Deepak" userId="6f208555-eba7-40e3-86ed-994763cf54a8" providerId="ADAL" clId="{CC046638-4DC7-47D9-90C8-561F948350CE}" dt="2025-08-11T13:00:38.826" v="1419" actId="14100"/>
          <ac:cxnSpMkLst>
            <pc:docMk/>
            <pc:sldMk cId="3002017006" sldId="579"/>
            <ac:cxnSpMk id="13" creationId="{CF3AD516-3FBF-E649-FB6F-5CAD1692BE60}"/>
          </ac:cxnSpMkLst>
        </pc:cxnChg>
      </pc:sldChg>
      <pc:sldChg chg="addSp delSp modSp add mod">
        <pc:chgData name="Petchimuthu, Deepak" userId="6f208555-eba7-40e3-86ed-994763cf54a8" providerId="ADAL" clId="{CC046638-4DC7-47D9-90C8-561F948350CE}" dt="2025-08-11T19:59:13.343" v="1767" actId="22"/>
        <pc:sldMkLst>
          <pc:docMk/>
          <pc:sldMk cId="4041084033" sldId="580"/>
        </pc:sldMkLst>
        <pc:spChg chg="mod">
          <ac:chgData name="Petchimuthu, Deepak" userId="6f208555-eba7-40e3-86ed-994763cf54a8" providerId="ADAL" clId="{CC046638-4DC7-47D9-90C8-561F948350CE}" dt="2025-08-11T14:36:13.242" v="1539" actId="20577"/>
          <ac:spMkLst>
            <pc:docMk/>
            <pc:sldMk cId="4041084033" sldId="580"/>
            <ac:spMk id="7" creationId="{6B19F4A8-0843-F76D-1A40-50073E1CB5B5}"/>
          </ac:spMkLst>
        </pc:spChg>
        <pc:picChg chg="add">
          <ac:chgData name="Petchimuthu, Deepak" userId="6f208555-eba7-40e3-86ed-994763cf54a8" providerId="ADAL" clId="{CC046638-4DC7-47D9-90C8-561F948350CE}" dt="2025-08-11T19:59:13.343" v="1767" actId="22"/>
          <ac:picMkLst>
            <pc:docMk/>
            <pc:sldMk cId="4041084033" sldId="580"/>
            <ac:picMk id="6" creationId="{078C2154-5F4D-889E-78A3-C220C37DE5E3}"/>
          </ac:picMkLst>
        </pc:picChg>
        <pc:picChg chg="del">
          <ac:chgData name="Petchimuthu, Deepak" userId="6f208555-eba7-40e3-86ed-994763cf54a8" providerId="ADAL" clId="{CC046638-4DC7-47D9-90C8-561F948350CE}" dt="2025-08-11T14:36:28.557" v="1540" actId="478"/>
          <ac:picMkLst>
            <pc:docMk/>
            <pc:sldMk cId="4041084033" sldId="580"/>
            <ac:picMk id="6" creationId="{C6EF42C0-3CA4-4DC0-60E8-224C4489DF25}"/>
          </ac:picMkLst>
        </pc:picChg>
        <pc:picChg chg="add del mod">
          <ac:chgData name="Petchimuthu, Deepak" userId="6f208555-eba7-40e3-86ed-994763cf54a8" providerId="ADAL" clId="{CC046638-4DC7-47D9-90C8-561F948350CE}" dt="2025-08-11T19:59:12.190" v="1766" actId="478"/>
          <ac:picMkLst>
            <pc:docMk/>
            <pc:sldMk cId="4041084033" sldId="580"/>
            <ac:picMk id="8" creationId="{C907D1BD-CF6D-D50A-D9AE-DB3585534ED7}"/>
          </ac:picMkLst>
        </pc:picChg>
      </pc:sldChg>
      <pc:sldChg chg="modSp add del mod">
        <pc:chgData name="Petchimuthu, Deepak" userId="6f208555-eba7-40e3-86ed-994763cf54a8" providerId="ADAL" clId="{CC046638-4DC7-47D9-90C8-561F948350CE}" dt="2025-08-11T14:42:23.922" v="1734" actId="47"/>
        <pc:sldMkLst>
          <pc:docMk/>
          <pc:sldMk cId="707581553" sldId="581"/>
        </pc:sldMkLst>
        <pc:spChg chg="mod">
          <ac:chgData name="Petchimuthu, Deepak" userId="6f208555-eba7-40e3-86ed-994763cf54a8" providerId="ADAL" clId="{CC046638-4DC7-47D9-90C8-561F948350CE}" dt="2025-08-11T14:37:48.310" v="1572" actId="6549"/>
          <ac:spMkLst>
            <pc:docMk/>
            <pc:sldMk cId="707581553" sldId="581"/>
            <ac:spMk id="7" creationId="{88E0C195-6E21-601B-C73F-8A8723F2AE42}"/>
          </ac:spMkLst>
        </pc:spChg>
      </pc:sldChg>
      <pc:sldChg chg="add del">
        <pc:chgData name="Petchimuthu, Deepak" userId="6f208555-eba7-40e3-86ed-994763cf54a8" providerId="ADAL" clId="{CC046638-4DC7-47D9-90C8-561F948350CE}" dt="2025-08-11T19:52:39.093" v="1763" actId="47"/>
        <pc:sldMkLst>
          <pc:docMk/>
          <pc:sldMk cId="3470666731" sldId="581"/>
        </pc:sldMkLst>
      </pc:sldChg>
    </pc:docChg>
  </pc:docChgLst>
  <pc:docChgLst>
    <pc:chgData name="Reis, Guilherme" userId="c94ddd04-2f9e-416d-8540-ca621e33f065" providerId="ADAL" clId="{EC2B3338-4EE1-4977-A541-9451C9EF9D63}"/>
    <pc:docChg chg="custSel modSld">
      <pc:chgData name="Reis, Guilherme" userId="c94ddd04-2f9e-416d-8540-ca621e33f065" providerId="ADAL" clId="{EC2B3338-4EE1-4977-A541-9451C9EF9D63}" dt="2025-05-12T14:21:06.055" v="0" actId="27636"/>
      <pc:docMkLst>
        <pc:docMk/>
      </pc:docMkLst>
      <pc:sldChg chg="modSp mod">
        <pc:chgData name="Reis, Guilherme" userId="c94ddd04-2f9e-416d-8540-ca621e33f065" providerId="ADAL" clId="{EC2B3338-4EE1-4977-A541-9451C9EF9D63}" dt="2025-05-12T14:21:06.055" v="0" actId="27636"/>
        <pc:sldMkLst>
          <pc:docMk/>
          <pc:sldMk cId="2265236705" sldId="57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DE8AB4-641E-465D-AEA0-0ECDEF2D60FD}" type="datetime3">
              <a:rPr lang="en-US" smtClean="0"/>
              <a:t>12 August 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9E996-AC77-442C-B560-F1E10515E50B}" type="datetime3">
              <a:rPr lang="en-US" noProof="0" smtClean="0"/>
              <a:t>12 August 2025</a:t>
            </a:fld>
            <a:endParaRPr lang="en-US" noProof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+mn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FD9370-5C44-3C57-38AB-F5BF135BF5D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38E3A49-D2AF-42E4-BA64-465D7159BB57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521069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83F04F-339A-5062-CD9E-AE3E51760A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8D10E6E-694C-504E-D958-7BFAE6FE0E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06415D4-411F-F39B-4C3F-B296B94D5E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1C8D35-579B-6C84-FAD6-171DE8EFFC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0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4C64EC-45E3-8463-3C20-F1CFBB27129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9122D97-D351-491D-9331-EAF70AA162F8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2179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D46BF4-B62D-43A4-D76E-817BCFFC12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D7A773C-80BF-837E-2F48-78EE469078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0622750-2289-9606-23C6-4A6D413BF5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7BA2E4-5402-1FCB-301F-25262D51D1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1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9FC5F5-E45B-49C9-65FF-7F9058D83B9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2FBB99B-7324-497F-B9F2-F102DC60CD1E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76432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CE8F8-2E13-5E05-A7A9-7E3B7B598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FD266B-4712-6F4F-0089-89DE0AA830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A658F9-C84F-122A-5AA6-02AC558674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DCDBFB-76C8-F75F-FDE4-D44D778CC9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2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3D2DB9-CBEE-7792-B85A-46D35CC1E4F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2FBB99B-7324-497F-B9F2-F102DC60CD1E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465850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+mn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3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2293DB-A8A5-7781-285A-05AB5005D6B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51ADB42-A225-4EED-93CB-B39C5775628A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4643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/>
            </a:b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7791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AF537B-00B7-CA3A-575E-1E6B7457C8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501E57A-F22E-3641-6E7B-6C1780C91E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037154B-7625-988F-A473-C2E69BB46D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DAF2E1-2C53-3D5B-914B-DB64346C34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7C3FD-20BF-B190-06DE-8A7BF90D552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9122D97-D351-491D-9331-EAF70AA162F8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433367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A4AF64-8657-D716-8FDB-CD202A5CDF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85B7623-125D-4EC7-3D69-C416E92FD2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B6421FD-F183-23C7-9FE5-E5A2840BB6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BB675F-AD61-453C-0DA7-12E7B63BD6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CF55BE-1BC0-B915-89BC-7EE7962999D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9122D97-D351-491D-9331-EAF70AA162F8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81260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939863-939F-2D99-3F48-CB67AF516E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8DB5FD7-D075-A3B2-F93D-965D8B8471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1FD395E-D355-4319-CAFE-3E7DAB4266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F4859F-5818-BF68-4B58-41ACB6D1E5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33F1EA-D36B-A032-BEFE-603EB33F88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9122D97-D351-491D-9331-EAF70AA162F8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58611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69B3F-4047-B375-8654-1CD0CE916E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C96B110-AB5A-2BDF-6FC1-2ECC615342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DB6E6A9-0194-0293-63D1-52D294093C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4D2FAA-D49A-D975-F472-8D93B5BF34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6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774835-BF66-98FF-F830-54915DC778E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9122D97-D351-491D-9331-EAF70AA162F8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01085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D5CCDB-EA33-E2B6-2EF9-4EB89337C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ED49281-028A-63CE-FE90-E47AD1CCAC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7C9E097-26F8-3EA0-9C18-B943613871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CEC0E8-443A-A1B2-273B-A0814D9C66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A086B5-AB96-80F3-8E58-CB0E50FF784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9122D97-D351-491D-9331-EAF70AA162F8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98722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E9073C-5327-301D-FC11-9EAF71D10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56CC0CA-295E-4531-9DD1-824F5BE97F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58F0977-5F40-F120-CA98-1C1334F174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5CCC2A-0B2D-551A-7886-6DDD7BC144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8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FA6492-0BA7-7D62-8B03-B644831E195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2FBB99B-7324-497F-B9F2-F102DC60CD1E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61398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4244D-A4DA-0AC1-B701-51C5FD5EE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B3CB9E6-9A6C-3FAB-0BED-31F8E7CD13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170D984-C121-E45F-49D8-5834F2B89B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321A47-E456-2454-8B49-A2348BE59A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9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E5C665-FC3F-4432-19B9-B5B98E0817E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9122D97-D351-491D-9331-EAF70AA162F8}" type="datetime3">
              <a:rPr lang="en-US" noProof="0" smtClean="0"/>
              <a:t>12 August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1941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big headline at th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90043"/>
            <a:ext cx="5916612" cy="2994832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Date / Event (optional)</a:t>
            </a:r>
          </a:p>
          <a:p>
            <a:pPr lvl="1"/>
            <a:r>
              <a:rPr lang="en-US" noProof="0"/>
              <a:t>—</a:t>
            </a:r>
          </a:p>
          <a:p>
            <a:pPr lvl="2"/>
            <a:r>
              <a:rPr lang="en-US" noProof="0"/>
              <a:t>Headline big, Frutiger LT Com Light, 32 pt</a:t>
            </a:r>
          </a:p>
          <a:p>
            <a:pPr lvl="3"/>
            <a:r>
              <a:rPr lang="en-US" noProof="0"/>
              <a:t>Speaker 1 / Speaker 2 / Speaker 3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8" name="iwes_rgb_modul">
            <a:extLst>
              <a:ext uri="{FF2B5EF4-FFF2-40B4-BE49-F238E27FC236}">
                <a16:creationId xmlns:a16="http://schemas.microsoft.com/office/drawing/2014/main" id="{B425EC27-3ABE-452C-BF35-8275A8468C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2 columns with inf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noProof="0"/>
              <a:t>Edit head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F97D5047-0DD6-45E6-955B-4386183D719E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noProof="0">
              <a:solidFill>
                <a:schemeClr val="tx1"/>
              </a:solidFill>
            </a:endParaRP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en-US" noProof="0"/>
              <a:t>Quote</a:t>
            </a:r>
          </a:p>
          <a:p>
            <a:pPr lvl="1"/>
            <a:r>
              <a:rPr lang="en-US" noProof="0"/>
              <a:t>Name of the author</a:t>
            </a:r>
          </a:p>
          <a:p>
            <a:pPr lvl="2"/>
            <a:r>
              <a:rPr lang="en-US" noProof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noProof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noProof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olo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Quote</a:t>
            </a:r>
          </a:p>
          <a:p>
            <a:pPr lvl="1"/>
            <a:r>
              <a:rPr lang="en-US" noProof="0"/>
              <a:t>Name of the author</a:t>
            </a:r>
          </a:p>
          <a:p>
            <a:pPr lvl="2"/>
            <a:r>
              <a:rPr lang="en-US" noProof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noProof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noProof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– Image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139490"/>
            <a:ext cx="5916612" cy="4344625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Contact</a:t>
            </a:r>
          </a:p>
          <a:p>
            <a:pPr lvl="1"/>
            <a:r>
              <a:rPr lang="en-US" noProof="0"/>
              <a:t>—</a:t>
            </a:r>
          </a:p>
          <a:p>
            <a:pPr lvl="2"/>
            <a:r>
              <a:rPr lang="en-US" noProof="0"/>
              <a:t>Title Firstname Lastname</a:t>
            </a:r>
          </a:p>
          <a:p>
            <a:pPr lvl="2"/>
            <a:r>
              <a:rPr lang="en-US" noProof="0"/>
              <a:t>Field of activity XXX</a:t>
            </a:r>
          </a:p>
          <a:p>
            <a:pPr lvl="2"/>
            <a:r>
              <a:rPr lang="en-US" noProof="0"/>
              <a:t>Fraunhofer Institute for Wind Energy Systems IWES</a:t>
            </a:r>
          </a:p>
          <a:p>
            <a:pPr lvl="2"/>
            <a:r>
              <a:rPr lang="en-US" noProof="0"/>
              <a:t>Address</a:t>
            </a:r>
          </a:p>
          <a:p>
            <a:pPr lvl="2"/>
            <a:r>
              <a:rPr lang="en-US" noProof="0"/>
              <a:t>XXXXX City</a:t>
            </a:r>
          </a:p>
          <a:p>
            <a:pPr lvl="2"/>
            <a:r>
              <a:rPr lang="en-US" noProof="0"/>
              <a:t>Germany </a:t>
            </a:r>
          </a:p>
          <a:p>
            <a:pPr lvl="2"/>
            <a:endParaRPr lang="en-US" noProof="0"/>
          </a:p>
          <a:p>
            <a:pPr lvl="2"/>
            <a:r>
              <a:rPr lang="en-US" noProof="0"/>
              <a:t>Phone +49 471 14290-XXX</a:t>
            </a:r>
          </a:p>
          <a:p>
            <a:pPr lvl="2"/>
            <a:r>
              <a:rPr lang="en-US" noProof="0"/>
              <a:t>firstname.lastname@iwes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8" name="iwes_rgb_modul">
            <a:extLst>
              <a:ext uri="{FF2B5EF4-FFF2-40B4-BE49-F238E27FC236}">
                <a16:creationId xmlns:a16="http://schemas.microsoft.com/office/drawing/2014/main" id="{52722E97-4DBB-411A-9EDA-DE7111579F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5022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1982338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Thank you for your attention!</a:t>
            </a:r>
          </a:p>
          <a:p>
            <a:pPr lvl="1"/>
            <a:r>
              <a:rPr lang="en-US" noProof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8" name="iwes_rgb_modul">
            <a:extLst>
              <a:ext uri="{FF2B5EF4-FFF2-40B4-BE49-F238E27FC236}">
                <a16:creationId xmlns:a16="http://schemas.microsoft.com/office/drawing/2014/main" id="{1869DA58-81B3-4EA3-AFD6-FD3EC0AF49F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–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noProof="0">
              <a:solidFill>
                <a:schemeClr val="tx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96075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– with Headline/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9F9CA75-C987-443B-9AC3-D7F9D72C0896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82919A2-B74E-4C2A-8007-4F0EA7B03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E36D0094-7C92-4CE7-9A06-BC97BFE1D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2219669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– background – headline/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9F9CA75-C987-443B-9AC3-D7F9D72C0896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9C66E636-057A-439E-A9F5-2481D87A37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82919A2-B74E-4C2A-8007-4F0EA7B03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E36D0094-7C92-4CE7-9A06-BC97BFE1D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1988760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– 1 column – headline/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364108CA-D57A-23AD-A406-F86A1F2EABC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9424" y="1700214"/>
            <a:ext cx="11233150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9F9CA75-C987-443B-9AC3-D7F9D72C0896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82919A2-B74E-4C2A-8007-4F0EA7B03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E36D0094-7C92-4CE7-9A06-BC97BFE1D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3442235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– 2 columns – headline/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9F9CA75-C987-443B-9AC3-D7F9D72C0896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9C66E636-057A-439E-A9F5-2481D87A37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4"/>
            <a:ext cx="5437189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82919A2-B74E-4C2A-8007-4F0EA7B03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E36D0094-7C92-4CE7-9A06-BC97BFE1D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Edit headline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741C5D7A-1E13-D3D9-12CC-42E09B1A39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75386" y="1700214"/>
            <a:ext cx="5437189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12695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platzhalter 13">
            <a:extLst>
              <a:ext uri="{FF2B5EF4-FFF2-40B4-BE49-F238E27FC236}">
                <a16:creationId xmlns:a16="http://schemas.microsoft.com/office/drawing/2014/main" id="{C07BB8D8-3EBB-FE59-58DE-DA642A05D3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4982" r="-166" b="-25467"/>
          <a:stretch/>
        </p:blipFill>
        <p:spPr bwMode="gray">
          <a:xfrm>
            <a:off x="10272574" y="5985578"/>
            <a:ext cx="1440000" cy="576263"/>
          </a:xfrm>
          <a:prstGeom prst="rect">
            <a:avLst/>
          </a:prstGeom>
          <a:noFill/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11072"/>
            <a:ext cx="7824783" cy="299483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Date / Event (optional)</a:t>
            </a:r>
          </a:p>
          <a:p>
            <a:pPr lvl="1"/>
            <a:r>
              <a:rPr lang="en-US" noProof="0"/>
              <a:t>—</a:t>
            </a:r>
          </a:p>
          <a:p>
            <a:pPr lvl="2"/>
            <a:r>
              <a:rPr lang="en-US" noProof="0"/>
              <a:t>Headline big, Frutiger LT Com Light, </a:t>
            </a:r>
            <a:br>
              <a:rPr lang="en-US" noProof="0"/>
            </a:br>
            <a:r>
              <a:rPr lang="en-US" noProof="0"/>
              <a:t>32 pt</a:t>
            </a:r>
          </a:p>
          <a:p>
            <a:pPr lvl="3"/>
            <a:r>
              <a:rPr lang="en-US" noProof="0"/>
              <a:t>Speaker 1 / Speaker 2 / Speaker 3</a:t>
            </a:r>
          </a:p>
        </p:txBody>
      </p:sp>
      <p:sp>
        <p:nvSpPr>
          <p:cNvPr id="20" name="Bildplatzhalter 10">
            <a:extLst>
              <a:ext uri="{FF2B5EF4-FFF2-40B4-BE49-F238E27FC236}">
                <a16:creationId xmlns:a16="http://schemas.microsoft.com/office/drawing/2014/main" id="{D9A13388-3E52-4C85-B633-66186CBEC39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28679" y="5985578"/>
            <a:ext cx="1440000" cy="576263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Bildplatzhalter 10">
            <a:extLst>
              <a:ext uri="{FF2B5EF4-FFF2-40B4-BE49-F238E27FC236}">
                <a16:creationId xmlns:a16="http://schemas.microsoft.com/office/drawing/2014/main" id="{06889E6D-D080-44FB-8E6C-678872F3C28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440887" y="5985578"/>
            <a:ext cx="1440000" cy="576263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2" name="Bildplatzhalter 10">
            <a:extLst>
              <a:ext uri="{FF2B5EF4-FFF2-40B4-BE49-F238E27FC236}">
                <a16:creationId xmlns:a16="http://schemas.microsoft.com/office/drawing/2014/main" id="{733C0CDA-095B-4380-B86D-68651DD59E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99735" y="5985578"/>
            <a:ext cx="1440000" cy="576263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0217C99C-069D-018F-58F9-F72D0FDDD76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7" name="Foliennummernplatzhalter 9">
            <a:extLst>
              <a:ext uri="{FF2B5EF4-FFF2-40B4-BE49-F238E27FC236}">
                <a16:creationId xmlns:a16="http://schemas.microsoft.com/office/drawing/2014/main" id="{102A5652-5609-56A9-6C73-17C3C6F29DB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8" name="Copyright Fraunhofer">
            <a:extLst>
              <a:ext uri="{FF2B5EF4-FFF2-40B4-BE49-F238E27FC236}">
                <a16:creationId xmlns:a16="http://schemas.microsoft.com/office/drawing/2014/main" id="{9280C5F9-2A9F-7FA4-700C-38ED4037AD9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1988353" cy="123111"/>
          </a:xfrm>
        </p:spPr>
        <p:txBody>
          <a:bodyPr/>
          <a:lstStyle/>
          <a:p>
            <a:r>
              <a:rPr lang="en-US" noProof="0"/>
              <a:t>© Fraunhofer IWES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– 2 columns 3 pictures – headline/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9F9CA75-C987-443B-9AC3-D7F9D72C0896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9C66E636-057A-439E-A9F5-2481D87A37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4"/>
            <a:ext cx="5437189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82919A2-B74E-4C2A-8007-4F0EA7B03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E36D0094-7C92-4CE7-9A06-BC97BFE1D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Edit headline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741C5D7A-1E13-D3D9-12CC-42E09B1A39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75386" y="1700214"/>
            <a:ext cx="5437189" cy="205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Bildplatzhalter 7">
            <a:extLst>
              <a:ext uri="{FF2B5EF4-FFF2-40B4-BE49-F238E27FC236}">
                <a16:creationId xmlns:a16="http://schemas.microsoft.com/office/drawing/2014/main" id="{A748A19E-8490-1E72-AC0B-2C8C26CED0E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388" y="3932876"/>
            <a:ext cx="5437189" cy="205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46567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– 3 columns – headline/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9C66E636-057A-439E-A9F5-2481D87A37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5" y="1700213"/>
            <a:ext cx="3502026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044FF063-272E-70DF-F2CF-B7070B2FC8B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10549" y="1700213"/>
            <a:ext cx="3502026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2BFDA31-0A0D-E9C6-0BB6-A710E56C39C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344987" y="1700213"/>
            <a:ext cx="3502026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9F9CA75-C987-443B-9AC3-D7F9D72C0896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82919A2-B74E-4C2A-8007-4F0EA7B03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E36D0094-7C92-4CE7-9A06-BC97BFE1D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4035387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color gradient  –  headline/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841155F-D9FE-4421-BE55-E8DCECB403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158119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82919A2-B74E-4C2A-8007-4F0EA7B03A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E36D0094-7C92-4CE7-9A06-BC97BFE1D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165493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noProof="0"/>
              <a:t>Edit headli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DDB5978E-10CF-4C3D-B9C8-BB7815C50378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noProof="0"/>
              <a:t>Edit headli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F2B4DB8-028A-4312-94EC-F87989B33B98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noProof="0"/>
              <a:t>Edit headli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14DC46F-0620-4D87-A38F-E9A72803A52C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noProof="0"/>
              <a:t>Edit headli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9367943-4431-4CED-98C8-4C1207201E43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2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en-US" noProof="0"/>
              <a:t>Edit head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38ACFDF-ED26-4CD0-9EE4-1433DB7786FF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3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en-US" noProof="0"/>
              <a:t>Edit head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DD02E61-40A2-44BC-8CE9-FF1153C2E73A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– 3 columns | Bullets,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noProof="0"/>
              <a:t>Edit headli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October 15, 2024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7C3918E-65F5-41B2-A8DD-DF6504BF844D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251B154-C519-91A0-B570-5E6FAA20AA47}"/>
              </a:ext>
            </a:extLst>
          </p:cNvPr>
          <p:cNvSpPr txBox="1"/>
          <p:nvPr userDrawn="1"/>
        </p:nvSpPr>
        <p:spPr>
          <a:xfrm>
            <a:off x="479425" y="5883980"/>
            <a:ext cx="123375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Tx/>
              <a:buNone/>
            </a:pPr>
            <a:r>
              <a:rPr lang="en-US" sz="800" noProof="0">
                <a:latin typeface="+mn-lt"/>
              </a:rPr>
              <a:t>Source: 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07B19BE-38EE-3E7C-7798-F113A5C074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25" y="5883980"/>
            <a:ext cx="2416175" cy="127727"/>
          </a:xfrm>
        </p:spPr>
        <p:txBody>
          <a:bodyPr anchor="b"/>
          <a:lstStyle>
            <a:lvl1pPr>
              <a:lnSpc>
                <a:spcPct val="100000"/>
              </a:lnSpc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1pPr>
            <a:lvl2pPr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2pPr>
            <a:lvl3pPr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3pPr>
            <a:lvl4pPr marL="0" indent="0"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4pPr>
            <a:lvl5pPr marL="180000" indent="0"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Textplatzhalter 22">
            <a:extLst>
              <a:ext uri="{FF2B5EF4-FFF2-40B4-BE49-F238E27FC236}">
                <a16:creationId xmlns:a16="http://schemas.microsoft.com/office/drawing/2014/main" id="{4C3064F3-732B-73B6-96DC-5C217212EF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1700212"/>
            <a:ext cx="11233150" cy="803297"/>
          </a:xfrm>
        </p:spPr>
        <p:txBody>
          <a:bodyPr anchor="t"/>
          <a:lstStyle>
            <a:lvl1pPr marL="177800" indent="-177800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1pPr>
            <a:lvl2pPr marL="357188" indent="-179388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2pPr>
            <a:lvl3pPr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3pPr>
            <a:lvl4pPr marL="0" indent="0"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4pPr>
            <a:lvl5pPr marL="180000" indent="0">
              <a:buFontTx/>
              <a:buNone/>
              <a:defRPr sz="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noProof="0"/>
              <a:t>Bulletpoint 1st level</a:t>
            </a:r>
          </a:p>
          <a:p>
            <a:pPr lvl="1"/>
            <a:r>
              <a:rPr lang="en-US" noProof="0"/>
              <a:t>Bulletpoint 2nd level</a:t>
            </a:r>
          </a:p>
          <a:p>
            <a:pPr lvl="2"/>
            <a:endParaRPr lang="en-US" noProof="0"/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81076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44" imgH="345" progId="TCLayout.ActiveDocument.1">
                  <p:embed/>
                </p:oleObj>
              </mc:Choice>
              <mc:Fallback>
                <p:oleObj name="think-cell Folie" r:id="rId2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r>
              <a:rPr lang="en-US" noProof="0"/>
              <a:t>First level headline</a:t>
            </a:r>
          </a:p>
          <a:p>
            <a:pPr lvl="1"/>
            <a:r>
              <a:rPr lang="en-US" noProof="0"/>
              <a:t>Second headline continuous text</a:t>
            </a:r>
          </a:p>
          <a:p>
            <a:pPr lvl="2"/>
            <a:r>
              <a:rPr lang="en-US" noProof="0"/>
              <a:t>Third level Subhead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</a:t>
            </a:r>
          </a:p>
          <a:p>
            <a:pPr lvl="5"/>
            <a:r>
              <a:rPr lang="en-US" noProof="0"/>
              <a:t>Sixth level </a:t>
            </a:r>
          </a:p>
          <a:p>
            <a:pPr lvl="6"/>
            <a:r>
              <a:rPr lang="en-US" noProof="0"/>
              <a:t>Seventh level </a:t>
            </a:r>
          </a:p>
          <a:p>
            <a:pPr lvl="7"/>
            <a:r>
              <a:rPr lang="en-US" noProof="0"/>
              <a:t>Eighth level </a:t>
            </a:r>
          </a:p>
          <a:p>
            <a:pPr lvl="8"/>
            <a:r>
              <a:rPr lang="en-US" noProof="0"/>
              <a:t>Ninth level 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October 15, 2024</a:t>
            </a:r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© Fraunhofer IWES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US" sz="800" b="1" noProof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2" name="iwes_rgb">
            <a:extLst>
              <a:ext uri="{FF2B5EF4-FFF2-40B4-BE49-F238E27FC236}">
                <a16:creationId xmlns:a16="http://schemas.microsoft.com/office/drawing/2014/main" id="{49A3D5C0-F321-4933-AE00-578033E904DD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226" y="6334126"/>
            <a:ext cx="1404000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3" r:id="rId2"/>
    <p:sldLayoutId id="2147483659" r:id="rId3"/>
    <p:sldLayoutId id="2147483668" r:id="rId4"/>
    <p:sldLayoutId id="2147483665" r:id="rId5"/>
    <p:sldLayoutId id="2147483671" r:id="rId6"/>
    <p:sldLayoutId id="2147483664" r:id="rId7"/>
    <p:sldLayoutId id="2147483667" r:id="rId8"/>
    <p:sldLayoutId id="2147483684" r:id="rId9"/>
    <p:sldLayoutId id="2147483670" r:id="rId10"/>
    <p:sldLayoutId id="2147483672" r:id="rId11"/>
    <p:sldLayoutId id="2147483673" r:id="rId12"/>
    <p:sldLayoutId id="2147483685" r:id="rId13"/>
    <p:sldLayoutId id="2147483677" r:id="rId14"/>
    <p:sldLayoutId id="2147483679" r:id="rId15"/>
    <p:sldLayoutId id="2147483681" r:id="rId16"/>
    <p:sldLayoutId id="2147483682" r:id="rId17"/>
    <p:sldLayoutId id="2147483691" r:id="rId18"/>
    <p:sldLayoutId id="2147483688" r:id="rId19"/>
    <p:sldLayoutId id="2147483689" r:id="rId20"/>
    <p:sldLayoutId id="2147483690" r:id="rId21"/>
    <p:sldLayoutId id="2147483683" r:id="rId22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CE4C3BF-32DF-D681-6300-38E36417E6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5D2800A0-2CCA-1447-C36C-DF55E3763B89}"/>
              </a:ext>
            </a:extLst>
          </p:cNvPr>
          <p:cNvSpPr txBox="1"/>
          <p:nvPr/>
        </p:nvSpPr>
        <p:spPr>
          <a:xfrm>
            <a:off x="9479460" y="6536075"/>
            <a:ext cx="2597965" cy="21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800">
                <a:solidFill>
                  <a:schemeClr val="bg1"/>
                </a:solidFill>
              </a:rPr>
              <a:t>© Fraunhofer IWES/Gerrit Wolken-Möhlmann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E531AF8A-14E7-430E-824A-8997D8C572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75561"/>
            <a:ext cx="5916612" cy="2509314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12.08.2025</a:t>
            </a:r>
          </a:p>
          <a:p>
            <a:pPr lvl="2"/>
            <a:r>
              <a:rPr lang="en-US"/>
              <a:t>Simulating Dyna Lab cooling system</a:t>
            </a:r>
          </a:p>
          <a:p>
            <a:pPr lvl="3"/>
            <a:r>
              <a:rPr lang="en-US"/>
              <a:t>Deepak</a:t>
            </a:r>
          </a:p>
        </p:txBody>
      </p:sp>
      <p:pic>
        <p:nvPicPr>
          <p:cNvPr id="16" name="iwes_rgb_modul">
            <a:extLst>
              <a:ext uri="{FF2B5EF4-FFF2-40B4-BE49-F238E27FC236}">
                <a16:creationId xmlns:a16="http://schemas.microsoft.com/office/drawing/2014/main" id="{00AAE1F9-236A-48C7-8152-6524207A90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0134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A4D32-5C7E-553D-9A17-6A4AAAD6CD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3826F9B7-512B-A3B9-FFBC-EA7AEC0F1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TLAB Dashboard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7898C0-1337-05CB-1471-F81D480F1D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1A21E9E-9C16-BA04-1C1E-2A5204DBBE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spAutoFit/>
          </a:bodyPr>
          <a:lstStyle/>
          <a:p>
            <a:r>
              <a:rPr lang="en-US"/>
              <a:t> Manual contro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A0DF23-098F-60CB-C0BC-6624F99A8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0339EB-B0AC-B320-F37D-F65E41DDB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16AE55-11E0-6CD4-AA74-BD2D696F59B7}"/>
              </a:ext>
            </a:extLst>
          </p:cNvPr>
          <p:cNvSpPr txBox="1"/>
          <p:nvPr/>
        </p:nvSpPr>
        <p:spPr>
          <a:xfrm>
            <a:off x="479425" y="1554792"/>
            <a:ext cx="5104946" cy="4210768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Manual interface to operate the cooling system in Simulink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Individual switches (1–7) control the opening of valves/heat inputs for each subsystem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Displays real-time measurements: flow rate (m³/</a:t>
            </a:r>
            <a:r>
              <a:rPr lang="en-US" sz="1600" err="1">
                <a:latin typeface="Times New Roman"/>
                <a:ea typeface="+mn-lt"/>
                <a:cs typeface="+mn-lt"/>
              </a:rPr>
              <a:t>hr</a:t>
            </a:r>
            <a:r>
              <a:rPr lang="en-US" sz="1600">
                <a:latin typeface="Times New Roman"/>
                <a:ea typeface="+mn-lt"/>
                <a:cs typeface="+mn-lt"/>
              </a:rPr>
              <a:t>), pressure (bar), and temperature (°C) for each consumer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Allows manual chiller operation for Cooling Towers CT01 and CT02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Used for testing control logic and verifying sensor feedback before automated operation. </a:t>
            </a:r>
            <a:endParaRPr lang="en-US" sz="1600">
              <a:latin typeface="Times New Roman"/>
              <a:ea typeface="+mn-lt"/>
              <a:cs typeface="Times New Roman"/>
            </a:endParaRPr>
          </a:p>
          <a:p>
            <a:pPr>
              <a:buClr>
                <a:schemeClr val="accent1"/>
              </a:buClr>
            </a:pPr>
            <a:endParaRPr lang="en-US"/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endParaRPr lang="en-US" sz="1600">
              <a:latin typeface="Times New Roman"/>
              <a:ea typeface="+mn-lt"/>
              <a:cs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B6E50C-FC22-077B-3DE6-3DFFD35956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9952" y="143361"/>
            <a:ext cx="5587648" cy="5936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3036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CC348-5E20-D2B2-A4C2-09AFD09709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3918809D-D10E-02BA-FE88-947BA1728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ult with all the valve open (Pressure after pump and temperature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9178748-8A62-EA13-6F6E-AB3E572392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EE6258-17F0-5A23-1D5A-2DED4787C8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3B01B-237E-FEAB-D069-3D1DD4B88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11</a:t>
            </a:fld>
            <a:endParaRPr lang="en-US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EE522A-08CC-3A35-BA20-6294B95B1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04" y="901989"/>
            <a:ext cx="11254191" cy="505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5173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35F6B2-E480-0B46-A49F-AE9CD85C1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B19F4A8-0843-F76D-1A40-50073E1CB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/>
              <a:t>Valve operated by the test case sequence (Pressure and temperature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8440210-0877-8C05-B513-3BE8EFCFA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6F47E7-A697-21B3-4359-25703D6F7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B6AD57-8B9E-4D42-9E9A-6FCBCF4E5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12</a:t>
            </a:fld>
            <a:endParaRPr lang="en-US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8C2154-5F4D-889E-78A3-C220C37DE5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097" y="901989"/>
            <a:ext cx="11229805" cy="505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084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6B27507-E9A1-B521-BEB9-C5A66F68C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4" y="476250"/>
            <a:ext cx="8406392" cy="5508625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FE67AFC9-8363-1009-B2CA-C2680521E0A5}"/>
              </a:ext>
            </a:extLst>
          </p:cNvPr>
          <p:cNvSpPr/>
          <p:nvPr/>
        </p:nvSpPr>
        <p:spPr>
          <a:xfrm>
            <a:off x="5795963" y="1700213"/>
            <a:ext cx="5916612" cy="227995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AEE86F4-8067-41C3-9F4E-59DECF15F4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ACB5796-63A6-3F4B-C1D7-2E7C4836B44F}"/>
              </a:ext>
            </a:extLst>
          </p:cNvPr>
          <p:cNvSpPr txBox="1">
            <a:spLocks/>
          </p:cNvSpPr>
          <p:nvPr/>
        </p:nvSpPr>
        <p:spPr bwMode="gray">
          <a:xfrm>
            <a:off x="5795963" y="1700213"/>
            <a:ext cx="5916612" cy="2279957"/>
          </a:xfrm>
          <a:prstGeom prst="rect">
            <a:avLst/>
          </a:prstGeo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vert="horz" lIns="486000" tIns="360000" rIns="360000" bIns="36000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latin typeface="+mn-lt"/>
              </a:rPr>
              <a:t>Thanks a lot for </a:t>
            </a:r>
            <a:br>
              <a:rPr lang="en-US" sz="3200">
                <a:latin typeface="+mn-lt"/>
              </a:rPr>
            </a:br>
            <a:r>
              <a:rPr lang="en-US" sz="3200">
                <a:latin typeface="+mn-lt"/>
              </a:rPr>
              <a:t>your attention!</a:t>
            </a:r>
          </a:p>
          <a:p>
            <a:pPr lvl="1"/>
            <a:r>
              <a:rPr lang="en-US"/>
              <a:t>—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D376E16-F213-89A6-76DD-10B4744484AC}"/>
              </a:ext>
            </a:extLst>
          </p:cNvPr>
          <p:cNvSpPr txBox="1"/>
          <p:nvPr/>
        </p:nvSpPr>
        <p:spPr>
          <a:xfrm>
            <a:off x="7025006" y="5687850"/>
            <a:ext cx="1771375" cy="21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en-US" sz="800">
                <a:solidFill>
                  <a:schemeClr val="bg1"/>
                </a:solidFill>
              </a:rPr>
              <a:t>© </a:t>
            </a:r>
            <a:r>
              <a:rPr lang="en-US" sz="800" b="0" i="0">
                <a:solidFill>
                  <a:schemeClr val="bg1"/>
                </a:solidFill>
                <a:effectLst/>
              </a:rPr>
              <a:t>Fraunhofer IWES/Frank Bauer</a:t>
            </a:r>
            <a:endParaRPr lang="en-US" sz="8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52E1D4D-0E3B-ECF6-FC0A-372D29BA65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63CC79-F49A-CDB6-2CDF-4A034F499D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13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22392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BB611E37-0949-88C1-D635-50C8C8CA0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D2938F6-73B7-405B-A22A-B753DAFE8B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6D59E47C-64B8-4A75-516F-A5CB8A1C80D3}"/>
              </a:ext>
            </a:extLst>
          </p:cNvPr>
          <p:cNvSpPr txBox="1">
            <a:spLocks/>
          </p:cNvSpPr>
          <p:nvPr/>
        </p:nvSpPr>
        <p:spPr bwMode="gray">
          <a:xfrm>
            <a:off x="477837" y="1703388"/>
            <a:ext cx="11233149" cy="364958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able of content</a:t>
            </a:r>
          </a:p>
          <a:p>
            <a:pPr marL="215900" lvl="6" indent="-215900"/>
            <a:r>
              <a:rPr lang="en-US" sz="1600"/>
              <a:t>Original System overview</a:t>
            </a:r>
          </a:p>
          <a:p>
            <a:pPr marL="215900" lvl="6" indent="-215900"/>
            <a:r>
              <a:rPr lang="en-US" sz="1600" err="1"/>
              <a:t>DynaLab</a:t>
            </a:r>
            <a:r>
              <a:rPr lang="en-US" sz="1600"/>
              <a:t> Auxiliary system setpoint</a:t>
            </a:r>
          </a:p>
          <a:p>
            <a:pPr marL="215900" lvl="6" indent="-215900"/>
            <a:r>
              <a:rPr lang="en-US" sz="1600" err="1"/>
              <a:t>Simscape</a:t>
            </a:r>
            <a:r>
              <a:rPr lang="en-US" sz="1600"/>
              <a:t> Model</a:t>
            </a:r>
          </a:p>
          <a:p>
            <a:pPr marL="215900" lvl="6" indent="-215900"/>
            <a:r>
              <a:rPr lang="en-US" sz="1600"/>
              <a:t>Subsystem overview</a:t>
            </a:r>
          </a:p>
          <a:p>
            <a:pPr marL="215900" lvl="6" indent="-215900"/>
            <a:r>
              <a:rPr lang="en-US" sz="1600"/>
              <a:t>Chiller subsystem overview</a:t>
            </a:r>
          </a:p>
          <a:p>
            <a:pPr marL="215900" lvl="6" indent="-215900"/>
            <a:r>
              <a:rPr lang="en-US" sz="1600"/>
              <a:t>Test Cases</a:t>
            </a:r>
          </a:p>
          <a:p>
            <a:pPr marL="215900" lvl="6" indent="-215900"/>
            <a:r>
              <a:rPr lang="en-US" sz="1600"/>
              <a:t>Control Logic </a:t>
            </a:r>
          </a:p>
          <a:p>
            <a:pPr marL="215900" lvl="6" indent="-215900"/>
            <a:r>
              <a:rPr lang="en-US" sz="1600"/>
              <a:t>MATLAB Dashboard and Manual Control</a:t>
            </a:r>
          </a:p>
          <a:p>
            <a:pPr marL="215900" lvl="6" indent="-215900"/>
            <a:r>
              <a:rPr lang="en-US" sz="1600"/>
              <a:t>Results</a:t>
            </a:r>
          </a:p>
          <a:p>
            <a:pPr marL="0" lvl="6" indent="0">
              <a:buNone/>
            </a:pPr>
            <a:endParaRPr lang="en-US"/>
          </a:p>
          <a:p>
            <a:pPr marL="0" lvl="6" indent="0">
              <a:buNone/>
            </a:pPr>
            <a:endParaRPr lang="en-US"/>
          </a:p>
          <a:p>
            <a:pPr marL="215900" lvl="6" indent="-215900">
              <a:buFont typeface="Frutiger LT Com 65 Bold"/>
              <a:buAutoNum type="arabicPeriod"/>
            </a:pP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EFDFFC-5B84-8CE0-50B6-7709A632DB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98BEF1-9235-5892-D61D-706392E39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7FFFBD-32CA-848C-8AF0-E12D07E87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056339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EAD71-43E2-3904-44FE-6728D56281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5A99F58-67E8-0A31-C08C-116F14422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overview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46FA37-EEDD-9D09-8A7D-D86D44FA4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2870A3B-2A81-8F99-BD0B-E5A0EEF6B1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Original syste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AEA04B-4EDB-4AA7-A391-CA8C6AD6E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B5AC31-2DF7-36D4-D5A9-B2DB52D87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8FCD50-8245-8281-98BE-7EBC81F8754A}"/>
              </a:ext>
            </a:extLst>
          </p:cNvPr>
          <p:cNvSpPr txBox="1">
            <a:spLocks/>
          </p:cNvSpPr>
          <p:nvPr/>
        </p:nvSpPr>
        <p:spPr bwMode="gray">
          <a:xfrm>
            <a:off x="205197" y="1385748"/>
            <a:ext cx="4001043" cy="34736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/>
              <a:t>Coolant Loop: 30% glycol / 70% water mixture circulation.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/>
              <a:t>Pumping Subsystem: Central manifold with multiple centrifugal pumps in parallel.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/>
              <a:t>Heat Input Subsystem: Test benches and equipment introduce up to 3,400 kW thermal load.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/>
              <a:t>Heat Rejection Subsystem: Hybrid cooling towers reduce coolant to ~25.5 °C.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/>
              <a:t>Monitoring &amp; Control Subsystem: Real-time flow, pressure, and temperature tracking.</a:t>
            </a:r>
          </a:p>
          <a:p>
            <a:pPr marL="0" lvl="6" indent="0">
              <a:buNone/>
            </a:pP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EEDFC4-18EF-99B2-4EB0-8D46B588CB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9947" y="395588"/>
            <a:ext cx="6261135" cy="467603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97C2E56-6F39-8B3B-8772-4298B2189DD8}"/>
              </a:ext>
            </a:extLst>
          </p:cNvPr>
          <p:cNvSpPr txBox="1"/>
          <p:nvPr/>
        </p:nvSpPr>
        <p:spPr>
          <a:xfrm>
            <a:off x="5370229" y="5072095"/>
            <a:ext cx="1983472" cy="10075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/>
              <a:t>1 – Cooling system 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/>
              <a:t>2 – Pump Unit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/>
              <a:t>3 – Converter 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/>
              <a:t>4 – Motor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A46D1B-2AC0-66B3-5D91-047739931E88}"/>
              </a:ext>
            </a:extLst>
          </p:cNvPr>
          <p:cNvSpPr txBox="1"/>
          <p:nvPr/>
        </p:nvSpPr>
        <p:spPr>
          <a:xfrm>
            <a:off x="7318919" y="5071625"/>
            <a:ext cx="1983472" cy="75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/>
              <a:t>5 – Hydraulic room</a:t>
            </a:r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/>
              <a:t>6 – DUT</a:t>
            </a:r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/>
              <a:t>7 – Hall C</a:t>
            </a:r>
          </a:p>
        </p:txBody>
      </p:sp>
    </p:spTree>
    <p:extLst>
      <p:ext uri="{BB962C8B-B14F-4D97-AF65-F5344CB8AC3E}">
        <p14:creationId xmlns:p14="http://schemas.microsoft.com/office/powerpoint/2010/main" val="2662964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06711-C632-0937-B849-A13FD16D2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 diagram of a computer&#10;&#10;AI-generated content may be incorrect.">
            <a:extLst>
              <a:ext uri="{FF2B5EF4-FFF2-40B4-BE49-F238E27FC236}">
                <a16:creationId xmlns:a16="http://schemas.microsoft.com/office/drawing/2014/main" id="{C4992E06-DDF1-B402-9219-C3D89E97A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89710" y="1778454"/>
            <a:ext cx="7653871" cy="281279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787770C-F3E2-B783-5D86-4F6F1C4789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</p:spPr>
        <p:txBody>
          <a:bodyPr anchor="ctr"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en-US"/>
              <a:t>October 15, 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103FB6-070F-009B-6779-93CFFC700A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3D58FE-AD34-0D1D-DA06-8E6382B02C3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0EF2DBC-14F8-B59A-AEE1-BBA5A4EDA5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778321"/>
            <a:ext cx="11233150" cy="319318"/>
          </a:xfrm>
        </p:spPr>
        <p:txBody>
          <a:bodyPr vert="horz" lIns="0" tIns="0" rIns="0" bIns="0" rtlCol="0">
            <a:normAutofit/>
          </a:bodyPr>
          <a:lstStyle/>
          <a:p>
            <a:r>
              <a:rPr lang="en-US"/>
              <a:t>Set Point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9B44B2C-A076-4A40-FE7F-9212E22CD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anchor="t">
            <a:normAutofit/>
          </a:bodyPr>
          <a:lstStyle/>
          <a:p>
            <a:r>
              <a:rPr lang="en-US" err="1"/>
              <a:t>DynaLab</a:t>
            </a:r>
            <a:r>
              <a:rPr lang="en-US"/>
              <a:t> Auxiliary system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59E06A66-18CC-9B28-B16B-CE8E86315409}"/>
              </a:ext>
            </a:extLst>
          </p:cNvPr>
          <p:cNvSpPr txBox="1">
            <a:spLocks/>
          </p:cNvSpPr>
          <p:nvPr/>
        </p:nvSpPr>
        <p:spPr bwMode="gray">
          <a:xfrm>
            <a:off x="205197" y="1385748"/>
            <a:ext cx="4001043" cy="45889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 dirty="0"/>
              <a:t>the actual setpoint for a proper operation are: 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 dirty="0"/>
              <a:t>Glycol Density: 1032 Kg/m3 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 dirty="0"/>
              <a:t>Glycol Specific Heat: 3.73 </a:t>
            </a:r>
            <a:r>
              <a:rPr lang="en-US" sz="1600" dirty="0" err="1"/>
              <a:t>Kj</a:t>
            </a:r>
            <a:r>
              <a:rPr lang="en-US" sz="1600" dirty="0"/>
              <a:t>/</a:t>
            </a:r>
            <a:r>
              <a:rPr lang="en-US" sz="1600" dirty="0" err="1"/>
              <a:t>KgK</a:t>
            </a:r>
            <a:r>
              <a:rPr lang="en-US" sz="1600" dirty="0"/>
              <a:t> 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 dirty="0"/>
              <a:t>System Pressure: 5.2Bars 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 dirty="0"/>
              <a:t>System Temperature: 25ºC to 30.5</a:t>
            </a:r>
          </a:p>
          <a:p>
            <a:pPr marL="0" lvl="6" indent="0">
              <a:buNone/>
            </a:pPr>
            <a:endParaRPr lang="en-US" sz="1600" dirty="0"/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 dirty="0"/>
              <a:t>PID: P=1; I=10; D=0 </a:t>
            </a:r>
          </a:p>
          <a:p>
            <a:pPr marL="0" lvl="6" indent="0">
              <a:buNone/>
            </a:pPr>
            <a:endParaRPr lang="en-US" sz="1600" dirty="0"/>
          </a:p>
          <a:p>
            <a:pPr marL="285750" lvl="6" indent="-285750">
              <a:buFont typeface="Wingdings" panose="05000000000000000000" pitchFamily="2" charset="2"/>
              <a:buChar char="Ø"/>
            </a:pPr>
            <a:r>
              <a:rPr lang="en-US" sz="1600" dirty="0"/>
              <a:t>Pump Sequencing: Third pump (P3) activates automatically when P1 &amp; P2 exceed 90% of maximum RPM.</a:t>
            </a:r>
          </a:p>
          <a:p>
            <a:pPr marL="285750" lvl="6" indent="-285750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42580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F80278-A819-680E-B5B7-C361DB9A0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68E2742-7460-C89A-2FF0-926501690D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4534" y="2183274"/>
            <a:ext cx="7093315" cy="351173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D74521E-4568-56B3-572F-B1CF801FB32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</p:spPr>
        <p:txBody>
          <a:bodyPr vert="horz" lIns="0" tIns="0" rIns="0" bIns="0" rtlCol="0" anchor="ctr"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en-US" kern="1200">
                <a:latin typeface="+mn-lt"/>
                <a:ea typeface="+mn-ea"/>
                <a:cs typeface="+mn-cs"/>
              </a:rPr>
              <a:t>October 15, 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665313-6274-3EEF-E1D4-A71C7240AD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latin typeface="+mn-lt"/>
                <a:ea typeface="+mn-ea"/>
                <a:cs typeface="+mn-cs"/>
              </a:rPr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E6FC0-09B3-5E66-3B16-A0C148E0E7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lide </a:t>
            </a:r>
            <a:fld id="{401BA3E4-5E55-4F99-AF09-CC6D6B2539E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24C95F7-53CC-8B74-91DF-3C3F30BCA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Frutiger LT Com 65 Bold" panose="020B0803030504020204" pitchFamily="34" charset="0"/>
                <a:ea typeface="+mj-ea"/>
                <a:cs typeface="+mj-cs"/>
              </a:rPr>
              <a:t>System overview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4DA03E3-CC02-9136-B866-67D950494C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778321"/>
            <a:ext cx="5437188" cy="318933"/>
          </a:xfrm>
        </p:spPr>
        <p:txBody>
          <a:bodyPr vert="horz" lIns="0" tIns="0" rIns="0" bIns="0" rtlCol="0">
            <a:normAutofit/>
          </a:bodyPr>
          <a:lstStyle/>
          <a:p>
            <a:r>
              <a:rPr lang="en-US" b="0" kern="1200">
                <a:latin typeface="+mn-lt"/>
                <a:ea typeface="+mn-ea"/>
                <a:cs typeface="+mn-cs"/>
              </a:rPr>
              <a:t>Simscape model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F911BE74-4405-9219-3D74-BBC22DACE79B}"/>
              </a:ext>
            </a:extLst>
          </p:cNvPr>
          <p:cNvSpPr txBox="1">
            <a:spLocks/>
          </p:cNvSpPr>
          <p:nvPr/>
        </p:nvSpPr>
        <p:spPr bwMode="gray">
          <a:xfrm>
            <a:off x="478198" y="1359348"/>
            <a:ext cx="9175941" cy="38631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6" indent="-285750">
              <a:lnSpc>
                <a:spcPct val="100000"/>
              </a:lnSpc>
              <a:spcAft>
                <a:spcPts val="1900"/>
              </a:spcAft>
              <a:buFont typeface="Wingdings" panose="05000000000000000000" pitchFamily="2" charset="2"/>
              <a:buChar char="Ø"/>
            </a:pPr>
            <a:r>
              <a:rPr lang="en-US">
                <a:solidFill>
                  <a:srgbClr val="000000"/>
                </a:solidFill>
              </a:rPr>
              <a:t>Cooling network modeled in MATLAB </a:t>
            </a:r>
            <a:r>
              <a:rPr lang="en-US" err="1">
                <a:solidFill>
                  <a:srgbClr val="000000"/>
                </a:solidFill>
              </a:rPr>
              <a:t>Simscape</a:t>
            </a:r>
            <a:r>
              <a:rPr lang="en-US">
                <a:solidFill>
                  <a:srgbClr val="000000"/>
                </a:solidFill>
              </a:rPr>
              <a:t> using Thermal Liquid domain.</a:t>
            </a:r>
          </a:p>
          <a:p>
            <a:pPr marL="285750" lvl="6" indent="-285750">
              <a:lnSpc>
                <a:spcPct val="100000"/>
              </a:lnSpc>
              <a:spcAft>
                <a:spcPts val="1900"/>
              </a:spcAft>
              <a:buFont typeface="Wingdings" panose="05000000000000000000" pitchFamily="2" charset="2"/>
              <a:buChar char="Ø"/>
            </a:pPr>
            <a:r>
              <a:rPr lang="en-US">
                <a:solidFill>
                  <a:srgbClr val="000000"/>
                </a:solidFill>
              </a:rPr>
              <a:t>Includes chiller units, centrifugal pumps, and thermal liquid components.</a:t>
            </a:r>
          </a:p>
          <a:p>
            <a:pPr marL="285750" lvl="6" indent="-285750">
              <a:lnSpc>
                <a:spcPct val="100000"/>
              </a:lnSpc>
              <a:spcAft>
                <a:spcPts val="1900"/>
              </a:spcAft>
              <a:buFont typeface="Wingdings" panose="05000000000000000000" pitchFamily="2" charset="2"/>
              <a:buChar char="Ø"/>
            </a:pPr>
            <a:r>
              <a:rPr lang="en-US">
                <a:solidFill>
                  <a:srgbClr val="000000"/>
                </a:solidFill>
              </a:rPr>
              <a:t>Subsystems represented: Converter Room, Motor, Hydraulic Room, DUT (Device Under Test) and Hall C</a:t>
            </a:r>
          </a:p>
          <a:p>
            <a:pPr marL="285750" lvl="6" indent="-285750">
              <a:lnSpc>
                <a:spcPct val="100000"/>
              </a:lnSpc>
              <a:spcAft>
                <a:spcPts val="1900"/>
              </a:spcAft>
              <a:buFont typeface="Wingdings" panose="05000000000000000000" pitchFamily="2" charset="2"/>
              <a:buChar char="Ø"/>
            </a:pPr>
            <a:r>
              <a:rPr lang="en-US">
                <a:solidFill>
                  <a:srgbClr val="000000"/>
                </a:solidFill>
              </a:rPr>
              <a:t>Model replicates real system topology for performance analysis and control testing</a:t>
            </a:r>
            <a:endParaRPr lang="en-US" sz="1000" b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350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4D104-6894-7F22-CB65-AB8A00E080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4B3BB9E-1C48-3E41-F012-924DA7A060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257" y="641750"/>
            <a:ext cx="7859038" cy="3134988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B71995D-EC17-AAA8-5459-FD596E0C9EA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</p:spPr>
        <p:txBody>
          <a:bodyPr anchor="ctr"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en-US"/>
              <a:t>October 15, 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8548DB-FCA1-9857-FCDC-7B15DE78DFD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CD6F5F-4DAB-840A-86A6-3E6532FC549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8B05EE74-CE0E-3207-341B-7DCB93C0E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anchor="t">
            <a:normAutofit/>
          </a:bodyPr>
          <a:lstStyle/>
          <a:p>
            <a:r>
              <a:rPr lang="en-US"/>
              <a:t>Subsystem Overview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16BC10-A1A3-BBB7-5238-76E68DA669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8557" y="3559024"/>
            <a:ext cx="2952000" cy="2366106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A42D509-EF99-DE3D-E909-2BB17D8B6754}"/>
              </a:ext>
            </a:extLst>
          </p:cNvPr>
          <p:cNvCxnSpPr>
            <a:cxnSpLocks/>
          </p:cNvCxnSpPr>
          <p:nvPr/>
        </p:nvCxnSpPr>
        <p:spPr>
          <a:xfrm>
            <a:off x="8534400" y="3276600"/>
            <a:ext cx="968829" cy="598714"/>
          </a:xfrm>
          <a:prstGeom prst="straightConnector1">
            <a:avLst/>
          </a:prstGeom>
          <a:ln w="9525">
            <a:solidFill>
              <a:srgbClr val="BB005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A30F5F51-F836-06DB-A0D1-D7F2AA95E42F}"/>
              </a:ext>
            </a:extLst>
          </p:cNvPr>
          <p:cNvSpPr txBox="1"/>
          <p:nvPr/>
        </p:nvSpPr>
        <p:spPr>
          <a:xfrm>
            <a:off x="475281" y="1332699"/>
            <a:ext cx="3788711" cy="3318216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Circulates coolant through the Device Under Test (DUT)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endParaRPr lang="en-US" sz="1600">
              <a:latin typeface="Times New Roman"/>
              <a:ea typeface="+mn-lt"/>
              <a:cs typeface="+mn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Contains pressure, temperature, and flow sensors for monitoring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endParaRPr lang="en-US" sz="1600">
              <a:latin typeface="Times New Roman"/>
              <a:ea typeface="+mn-lt"/>
              <a:cs typeface="+mn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Equipped with control valve (V5) to regulate coolant flow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endParaRPr lang="en-US" sz="1600">
              <a:latin typeface="Times New Roman"/>
              <a:ea typeface="+mn-lt"/>
              <a:cs typeface="+mn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Activates heat load when the valve opens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endParaRPr lang="en-US" sz="1600">
              <a:latin typeface="Times New Roman"/>
              <a:ea typeface="+mn-lt"/>
              <a:cs typeface="+mn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Sends sensor feedback to the control logic for system regulation.</a:t>
            </a:r>
          </a:p>
        </p:txBody>
      </p:sp>
    </p:spTree>
    <p:extLst>
      <p:ext uri="{BB962C8B-B14F-4D97-AF65-F5344CB8AC3E}">
        <p14:creationId xmlns:p14="http://schemas.microsoft.com/office/powerpoint/2010/main" val="2265236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AD5A82-D83E-8743-50D0-E2850F477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288F0B1-490D-2C17-40A2-4FF42E5DE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75029" y="2265821"/>
            <a:ext cx="3890527" cy="37649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67D9AB8-E748-57D1-2551-A6B7AA4386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3944" y="395588"/>
            <a:ext cx="3284066" cy="331821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9705DB-62CC-EAD3-CCC3-F8882D87274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</p:spPr>
        <p:txBody>
          <a:bodyPr anchor="ctr"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en-US"/>
              <a:t>October 15, 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DB4E9A-6E87-81AB-A042-78161DD63BC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3176A3-3039-9758-782E-B4B7645CBE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79625BD-CB57-325C-296C-CAC45AE9A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anchor="t">
            <a:normAutofit/>
          </a:bodyPr>
          <a:lstStyle/>
          <a:p>
            <a:r>
              <a:rPr lang="en-US"/>
              <a:t>Chiller subsystem overview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F3AD516-3FBF-E649-FB6F-5CAD1692BE60}"/>
              </a:ext>
            </a:extLst>
          </p:cNvPr>
          <p:cNvCxnSpPr>
            <a:cxnSpLocks/>
          </p:cNvCxnSpPr>
          <p:nvPr/>
        </p:nvCxnSpPr>
        <p:spPr>
          <a:xfrm>
            <a:off x="7339133" y="2561748"/>
            <a:ext cx="1630696" cy="1335338"/>
          </a:xfrm>
          <a:prstGeom prst="straightConnector1">
            <a:avLst/>
          </a:prstGeom>
          <a:ln w="9525">
            <a:solidFill>
              <a:srgbClr val="BB0056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56FFB24-8C09-34F4-ED79-A971574BB227}"/>
              </a:ext>
            </a:extLst>
          </p:cNvPr>
          <p:cNvSpPr txBox="1"/>
          <p:nvPr/>
        </p:nvSpPr>
        <p:spPr>
          <a:xfrm>
            <a:off x="475281" y="1332699"/>
            <a:ext cx="3788711" cy="3649076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Circulates coolant through the chiller for heat rejection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Maintains coolant outlet temperature at ~25.5 °C before recirculation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Uses integrated pump model for flow control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Power consumption and pump response modeled for realistic behavior.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Controlled via system logic to match cooling demand.</a:t>
            </a:r>
          </a:p>
        </p:txBody>
      </p:sp>
    </p:spTree>
    <p:extLst>
      <p:ext uri="{BB962C8B-B14F-4D97-AF65-F5344CB8AC3E}">
        <p14:creationId xmlns:p14="http://schemas.microsoft.com/office/powerpoint/2010/main" val="3002017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E6AFC849-4984-13D3-1329-F21ED1E235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B0358AF5-D79C-DEEF-FB6B-9DE50F3B3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st Cas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196EB0-4426-54DA-8C30-C479FD032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C6A233-DF47-3634-053F-78E389BB0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CA6C07-88B5-504A-8F37-F9C51D316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6316560-5B82-0E4D-2545-AC4868AF6A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esting different condition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4E35790-3D36-B96D-3260-565C1AE6F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136612"/>
              </p:ext>
            </p:extLst>
          </p:nvPr>
        </p:nvGraphicFramePr>
        <p:xfrm>
          <a:off x="1199425" y="1567543"/>
          <a:ext cx="9762490" cy="388573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952498">
                  <a:extLst>
                    <a:ext uri="{9D8B030D-6E8A-4147-A177-3AD203B41FA5}">
                      <a16:colId xmlns:a16="http://schemas.microsoft.com/office/drawing/2014/main" val="3037386939"/>
                    </a:ext>
                  </a:extLst>
                </a:gridCol>
                <a:gridCol w="2791677">
                  <a:extLst>
                    <a:ext uri="{9D8B030D-6E8A-4147-A177-3AD203B41FA5}">
                      <a16:colId xmlns:a16="http://schemas.microsoft.com/office/drawing/2014/main" val="3313990699"/>
                    </a:ext>
                  </a:extLst>
                </a:gridCol>
                <a:gridCol w="1113319">
                  <a:extLst>
                    <a:ext uri="{9D8B030D-6E8A-4147-A177-3AD203B41FA5}">
                      <a16:colId xmlns:a16="http://schemas.microsoft.com/office/drawing/2014/main" val="917351339"/>
                    </a:ext>
                  </a:extLst>
                </a:gridCol>
                <a:gridCol w="1335967">
                  <a:extLst>
                    <a:ext uri="{9D8B030D-6E8A-4147-A177-3AD203B41FA5}">
                      <a16:colId xmlns:a16="http://schemas.microsoft.com/office/drawing/2014/main" val="1189327857"/>
                    </a:ext>
                  </a:extLst>
                </a:gridCol>
                <a:gridCol w="2569029">
                  <a:extLst>
                    <a:ext uri="{9D8B030D-6E8A-4147-A177-3AD203B41FA5}">
                      <a16:colId xmlns:a16="http://schemas.microsoft.com/office/drawing/2014/main" val="1396867440"/>
                    </a:ext>
                  </a:extLst>
                </a:gridCol>
              </a:tblGrid>
              <a:tr h="3202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Step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Description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Time Start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Time End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Valve State (V1–V7)</a:t>
                      </a:r>
                    </a:p>
                  </a:txBody>
                  <a:tcPr marL="53878" marR="53878" marT="26939" marB="26939" anchor="ctr"/>
                </a:tc>
                <a:extLst>
                  <a:ext uri="{0D108BD9-81ED-4DB2-BD59-A6C34878D82A}">
                    <a16:rowId xmlns:a16="http://schemas.microsoft.com/office/drawing/2014/main" val="3443971486"/>
                  </a:ext>
                </a:extLst>
              </a:tr>
              <a:tr h="3202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Everything is running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5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 1 1 1 1 1 1</a:t>
                      </a:r>
                    </a:p>
                  </a:txBody>
                  <a:tcPr marL="53878" marR="53878" marT="26939" marB="26939" anchor="ctr"/>
                </a:tc>
                <a:extLst>
                  <a:ext uri="{0D108BD9-81ED-4DB2-BD59-A6C34878D82A}">
                    <a16:rowId xmlns:a16="http://schemas.microsoft.com/office/drawing/2014/main" val="1262701418"/>
                  </a:ext>
                </a:extLst>
              </a:tr>
              <a:tr h="56254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2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Converter and DUT running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5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0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 1 0 0 0 1 0</a:t>
                      </a:r>
                    </a:p>
                  </a:txBody>
                  <a:tcPr marL="53878" marR="53878" marT="26939" marB="26939" anchor="ctr"/>
                </a:tc>
                <a:extLst>
                  <a:ext uri="{0D108BD9-81ED-4DB2-BD59-A6C34878D82A}">
                    <a16:rowId xmlns:a16="http://schemas.microsoft.com/office/drawing/2014/main" val="2668683887"/>
                  </a:ext>
                </a:extLst>
              </a:tr>
              <a:tr h="56254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3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In addition to step 2, open motors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0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9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 1 1 1 1 1 0</a:t>
                      </a:r>
                    </a:p>
                  </a:txBody>
                  <a:tcPr marL="53878" marR="53878" marT="26939" marB="26939" anchor="ctr"/>
                </a:tc>
                <a:extLst>
                  <a:ext uri="{0D108BD9-81ED-4DB2-BD59-A6C34878D82A}">
                    <a16:rowId xmlns:a16="http://schemas.microsoft.com/office/drawing/2014/main" val="4126509832"/>
                  </a:ext>
                </a:extLst>
              </a:tr>
              <a:tr h="56254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4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Open the remaining consumers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9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28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 1 1 1 1 1 1</a:t>
                      </a:r>
                    </a:p>
                  </a:txBody>
                  <a:tcPr marL="53878" marR="53878" marT="26939" marB="26939" anchor="ctr"/>
                </a:tc>
                <a:extLst>
                  <a:ext uri="{0D108BD9-81ED-4DB2-BD59-A6C34878D82A}">
                    <a16:rowId xmlns:a16="http://schemas.microsoft.com/office/drawing/2014/main" val="3564242643"/>
                  </a:ext>
                </a:extLst>
              </a:tr>
              <a:tr h="1012478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5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Shut everything down, keep converter &amp; DUT running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28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37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 1 0 0 0 1 0</a:t>
                      </a:r>
                    </a:p>
                  </a:txBody>
                  <a:tcPr marL="53878" marR="53878" marT="26939" marB="26939" anchor="ctr"/>
                </a:tc>
                <a:extLst>
                  <a:ext uri="{0D108BD9-81ED-4DB2-BD59-A6C34878D82A}">
                    <a16:rowId xmlns:a16="http://schemas.microsoft.com/office/drawing/2014/main" val="209348672"/>
                  </a:ext>
                </a:extLst>
              </a:tr>
              <a:tr h="545181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6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Shut whole system down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37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4600</a:t>
                      </a:r>
                    </a:p>
                  </a:txBody>
                  <a:tcPr marL="53878" marR="53878" marT="26939" marB="2693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/>
                        <a:t>1 1 1 1 1 1 1</a:t>
                      </a:r>
                    </a:p>
                  </a:txBody>
                  <a:tcPr marL="53878" marR="53878" marT="26939" marB="26939" anchor="ctr"/>
                </a:tc>
                <a:extLst>
                  <a:ext uri="{0D108BD9-81ED-4DB2-BD59-A6C34878D82A}">
                    <a16:rowId xmlns:a16="http://schemas.microsoft.com/office/drawing/2014/main" val="34382930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9236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BF0E69-CF7E-F890-E908-ECF942AA4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2FB54007-05D3-3097-05F7-A40928C71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bsystems overview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C4739EC-4783-42F6-9864-DE5968ADF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15, 2024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9A0574-4813-3A44-4F8E-AE17BBC4CA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spAutoFit/>
          </a:bodyPr>
          <a:lstStyle/>
          <a:p>
            <a:r>
              <a:rPr lang="en-US"/>
              <a:t>Control Logic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CAEEDA-AE46-678F-D91C-5E4B33603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Fraunhofer IW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2E1EED-52AD-4F35-821F-C5C628D46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lide </a:t>
            </a:r>
            <a:fld id="{401BA3E4-5E55-4F99-AF09-CC6D6B2539E2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0058B8-113D-8B98-760F-366A961D11AD}"/>
              </a:ext>
            </a:extLst>
          </p:cNvPr>
          <p:cNvSpPr txBox="1"/>
          <p:nvPr/>
        </p:nvSpPr>
        <p:spPr>
          <a:xfrm>
            <a:off x="475281" y="1332699"/>
            <a:ext cx="3788711" cy="3574697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Pressure Control: Maintains system pressure at 5.2×10⁵ Pa via PID regulation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Inputs: Pressure sensor feedback (PT02), pump RPM data (P1 &amp; P2), and previous pump state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Control Logic: MATLAB function determines valve positions (V1–V7) and pump speeds (P1–P3)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Valve–Heat Link: Each valve corresponds to a dedicated heat source; opening a valve activates its load.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Wingdings"/>
              <a:buChar char="Ø"/>
            </a:pPr>
            <a:r>
              <a:rPr lang="en-US" sz="1600">
                <a:latin typeface="Times New Roman"/>
                <a:ea typeface="+mn-lt"/>
                <a:cs typeface="+mn-lt"/>
              </a:rPr>
              <a:t>Outputs: Stable pump RPM commands and valve control signals for balanced load distributio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DF0B7C-1794-526B-66BD-9124233F7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0821" y="373666"/>
            <a:ext cx="6113518" cy="3772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948C83E-87E0-EBC5-F48D-B3B23F1C0A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29658" y="3173461"/>
            <a:ext cx="2582917" cy="2710410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E458D99-A6CD-84F1-8CA9-347351592B18}"/>
              </a:ext>
            </a:extLst>
          </p:cNvPr>
          <p:cNvCxnSpPr/>
          <p:nvPr/>
        </p:nvCxnSpPr>
        <p:spPr>
          <a:xfrm>
            <a:off x="9046029" y="2764971"/>
            <a:ext cx="1132114" cy="1110343"/>
          </a:xfrm>
          <a:prstGeom prst="straightConnector1">
            <a:avLst/>
          </a:prstGeom>
          <a:ln w="9525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783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5EEF2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22034510-8F4C-4141-9A62-6AAE0ADB2D87}" vid="{71360E53-2059-463A-9274-BFEFEDAA3531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Fraunhofer_Color">
    <a:dk1>
      <a:sysClr val="windowText" lastClr="000000"/>
    </a:dk1>
    <a:lt1>
      <a:sysClr val="window" lastClr="FFFFFF"/>
    </a:lt1>
    <a:dk2>
      <a:srgbClr val="F58220"/>
    </a:dk2>
    <a:lt2>
      <a:srgbClr val="A6BBC8"/>
    </a:lt2>
    <a:accent1>
      <a:srgbClr val="179C7D"/>
    </a:accent1>
    <a:accent2>
      <a:srgbClr val="005B7F"/>
    </a:accent2>
    <a:accent3>
      <a:srgbClr val="A6BBC8"/>
    </a:accent3>
    <a:accent4>
      <a:srgbClr val="008598"/>
    </a:accent4>
    <a:accent5>
      <a:srgbClr val="39C1CD"/>
    </a:accent5>
    <a:accent6>
      <a:srgbClr val="B2D235"/>
    </a:accent6>
    <a:hlink>
      <a:srgbClr val="179C7D"/>
    </a:hlink>
    <a:folHlink>
      <a:srgbClr val="005B7F"/>
    </a:folHlink>
  </a:clrScheme>
</a:themeOverride>
</file>

<file path=ppt/theme/themeOverride2.xml><?xml version="1.0" encoding="utf-8"?>
<a:themeOverride xmlns:a="http://schemas.openxmlformats.org/drawingml/2006/main">
  <a:clrScheme name="Fraunhofer_Color">
    <a:dk1>
      <a:sysClr val="windowText" lastClr="000000"/>
    </a:dk1>
    <a:lt1>
      <a:sysClr val="window" lastClr="FFFFFF"/>
    </a:lt1>
    <a:dk2>
      <a:srgbClr val="F58220"/>
    </a:dk2>
    <a:lt2>
      <a:srgbClr val="A6BBC8"/>
    </a:lt2>
    <a:accent1>
      <a:srgbClr val="179C7D"/>
    </a:accent1>
    <a:accent2>
      <a:srgbClr val="005B7F"/>
    </a:accent2>
    <a:accent3>
      <a:srgbClr val="A6BBC8"/>
    </a:accent3>
    <a:accent4>
      <a:srgbClr val="008598"/>
    </a:accent4>
    <a:accent5>
      <a:srgbClr val="39C1CD"/>
    </a:accent5>
    <a:accent6>
      <a:srgbClr val="B2D235"/>
    </a:accent6>
    <a:hlink>
      <a:srgbClr val="179C7D"/>
    </a:hlink>
    <a:folHlink>
      <a:srgbClr val="005B7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3642CD3E91EDF43BD40DFA7AA3F6B1D" ma:contentTypeVersion="19" ma:contentTypeDescription="Ein neues Dokument erstellen." ma:contentTypeScope="" ma:versionID="fa5a45fc9eab9626c7c749d75128363f">
  <xsd:schema xmlns:xsd="http://www.w3.org/2001/XMLSchema" xmlns:xs="http://www.w3.org/2001/XMLSchema" xmlns:p="http://schemas.microsoft.com/office/2006/metadata/properties" xmlns:ns2="7cf47abe-b832-49ba-b8a3-0f79cf067494" xmlns:ns3="17305be4-71c9-4410-9976-ab9bfaeccb8c" targetNamespace="http://schemas.microsoft.com/office/2006/metadata/properties" ma:root="true" ma:fieldsID="792a20c335ca5c33013cbf9281cf2abd" ns2:_="" ns3:_="">
    <xsd:import namespace="7cf47abe-b832-49ba-b8a3-0f79cf067494"/>
    <xsd:import namespace="17305be4-71c9-4410-9976-ab9bfaeccb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f47abe-b832-49ba-b8a3-0f79cf0674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305be4-71c9-4410-9976-ab9bfaeccb8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4e84feca-9351-4850-acdb-c38c90d190af}" ma:internalName="TaxCatchAll" ma:showField="CatchAllData" ma:web="17305be4-71c9-4410-9976-ab9bfaeccb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7305be4-71c9-4410-9976-ab9bfaeccb8c" xsi:nil="true"/>
    <lcf76f155ced4ddcb4097134ff3c332f xmlns="7cf47abe-b832-49ba-b8a3-0f79cf067494">
      <Terms xmlns="http://schemas.microsoft.com/office/infopath/2007/PartnerControls"/>
    </lcf76f155ced4ddcb4097134ff3c332f>
    <SharedWithUsers xmlns="17305be4-71c9-4410-9976-ab9bfaeccb8c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567582F-E610-4076-9376-720FD6F81466}">
  <ds:schemaRefs>
    <ds:schemaRef ds:uri="17305be4-71c9-4410-9976-ab9bfaeccb8c"/>
    <ds:schemaRef ds:uri="7cf47abe-b832-49ba-b8a3-0f79cf06749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3BF5DB9-B269-493F-A2A7-DA1D5B78AC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4255FD-1DF9-4607-9830-B5769244C680}">
  <ds:schemaRefs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elements/1.1/"/>
    <ds:schemaRef ds:uri="http://schemas.microsoft.com/office/2006/documentManagement/types"/>
    <ds:schemaRef ds:uri="17305be4-71c9-4410-9976-ab9bfaeccb8c"/>
    <ds:schemaRef ds:uri="7cf47abe-b832-49ba-b8a3-0f79cf067494"/>
    <ds:schemaRef ds:uri="http://purl.org/dc/terms/"/>
    <ds:schemaRef ds:uri="http://schemas.microsoft.com/office/infopath/2007/PartnerControl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930300c-c97d-4019-be03-add650a171c4}" enabled="0" method="" siteId="{f930300c-c97d-4019-be03-add650a171c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36</Words>
  <Application>Microsoft Office PowerPoint</Application>
  <PresentationFormat>Widescreen</PresentationFormat>
  <Paragraphs>185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Frutiger LT Com 45 Light</vt:lpstr>
      <vt:lpstr>Frutiger LT Com 65 Bold</vt:lpstr>
      <vt:lpstr>Frutiger LT Com 75 Black</vt:lpstr>
      <vt:lpstr>Times New Roman</vt:lpstr>
      <vt:lpstr>Wingdings</vt:lpstr>
      <vt:lpstr>Fraunhofer_Master_16-9</vt:lpstr>
      <vt:lpstr>think-cell Folie</vt:lpstr>
      <vt:lpstr>PowerPoint Presentation</vt:lpstr>
      <vt:lpstr>Agenda</vt:lpstr>
      <vt:lpstr>System overview</vt:lpstr>
      <vt:lpstr>DynaLab Auxiliary system</vt:lpstr>
      <vt:lpstr>System overview</vt:lpstr>
      <vt:lpstr>Subsystem Overview</vt:lpstr>
      <vt:lpstr>Chiller subsystem overview</vt:lpstr>
      <vt:lpstr>Test Case</vt:lpstr>
      <vt:lpstr>Subsystems overview</vt:lpstr>
      <vt:lpstr>MATLAB Dashboard</vt:lpstr>
      <vt:lpstr>Result with all the valve open (Pressure after pump and temperature)</vt:lpstr>
      <vt:lpstr>Valve operated by the test case sequence (Pressure and temperature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s, Guilherme</dc:creator>
  <cp:lastModifiedBy>Petchimuthu, Deepak</cp:lastModifiedBy>
  <cp:revision>1</cp:revision>
  <dcterms:created xsi:type="dcterms:W3CDTF">2023-01-30T10:37:51Z</dcterms:created>
  <dcterms:modified xsi:type="dcterms:W3CDTF">2025-08-12T08:2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642CD3E91EDF43BD40DFA7AA3F6B1D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